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slideLayouts/slideLayout20.xml" ContentType="application/vnd.openxmlformats-officedocument.presentationml.slideLayout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slideLayouts/slideLayout31.xml" ContentType="application/vnd.openxmlformats-officedocument.presentationml.slideLayout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27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slideLayouts/slideLayout21.xml" ContentType="application/vnd.openxmlformats-officedocument.presentationml.slideLayout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9" r:id="rId2"/>
    <p:sldMasterId id="2147483715" r:id="rId3"/>
    <p:sldMasterId id="2147483720" r:id="rId4"/>
  </p:sldMasterIdLst>
  <p:notesMasterIdLst>
    <p:notesMasterId r:id="rId17"/>
  </p:notesMasterIdLst>
  <p:handoutMasterIdLst>
    <p:handoutMasterId r:id="rId18"/>
  </p:handoutMasterIdLst>
  <p:sldIdLst>
    <p:sldId id="270" r:id="rId5"/>
    <p:sldId id="291" r:id="rId6"/>
    <p:sldId id="272" r:id="rId7"/>
    <p:sldId id="287" r:id="rId8"/>
    <p:sldId id="279" r:id="rId9"/>
    <p:sldId id="294" r:id="rId10"/>
    <p:sldId id="295" r:id="rId11"/>
    <p:sldId id="296" r:id="rId12"/>
    <p:sldId id="297" r:id="rId13"/>
    <p:sldId id="260" r:id="rId14"/>
    <p:sldId id="289" r:id="rId15"/>
    <p:sldId id="286" r:id="rId16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CFFFF"/>
    <a:srgbClr val="33CCCC"/>
    <a:srgbClr val="33CCFF"/>
    <a:srgbClr val="00CC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12" autoAdjust="0"/>
    <p:restoredTop sz="94660"/>
  </p:normalViewPr>
  <p:slideViewPr>
    <p:cSldViewPr snapToGrid="0" showGuides="1">
      <p:cViewPr varScale="1">
        <p:scale>
          <a:sx n="114" d="100"/>
          <a:sy n="114" d="100"/>
        </p:scale>
        <p:origin x="-246" y="-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DFE911-B28D-4167-B253-23542EDF56BB}" type="datetimeFigureOut">
              <a:rPr lang="ru-RU" smtClean="0"/>
              <a:pPr/>
              <a:t>08.0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02E4F-6D3A-4E80-8128-B9E62207ED4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1482894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F7C479-9F87-4CC4-9690-3B5ED03D4197}" type="datetimeFigureOut">
              <a:rPr lang="ru-RU" smtClean="0"/>
              <a:pPr/>
              <a:t>08.0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FA2208-8CA3-4389-999F-8276BF93836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9038412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7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8FA2208-8CA3-4389-999F-8276BF938369}" type="slidenum">
              <a:rPr lang="ru-RU" smtClean="0"/>
              <a:pPr/>
              <a:t>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891469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002" name="Rectangle 2"/>
          <p:cNvSpPr>
            <a:spLocks noGrp="1" noRot="1" noChangeAspect="1" noChangeArrowheads="1" noTextEdit="1"/>
          </p:cNvSpPr>
          <p:nvPr>
            <p:ph type="sldImg"/>
            <p:custDataLst>
              <p:tags r:id="rId1"/>
            </p:custDataLst>
          </p:nvPr>
        </p:nvSpPr>
        <p:spPr>
          <a:xfrm>
            <a:off x="-835025" y="619125"/>
            <a:ext cx="7727950" cy="4348163"/>
          </a:xfrm>
          <a:ln/>
        </p:spPr>
      </p:sp>
      <p:sp>
        <p:nvSpPr>
          <p:cNvPr id="3840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71419" y="5135785"/>
            <a:ext cx="4926212" cy="1012732"/>
          </a:xfrm>
          <a:noFill/>
        </p:spPr>
        <p:txBody>
          <a:bodyPr/>
          <a:lstStyle/>
          <a:p>
            <a:pPr lvl="1"/>
            <a:r>
              <a:rPr lang="en-GB" dirty="0" smtClean="0"/>
              <a:t>Labs are starting point for firm to do more execution work. It is an innovation in how we serve clients towards having impact</a:t>
            </a:r>
          </a:p>
          <a:p>
            <a:pPr lvl="1"/>
            <a:endParaRPr lang="en-GB" dirty="0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Верхний колонтитул 2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967989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D5837-1AA0-471F-8BC5-63911904D72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78991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DD5837-1AA0-471F-8BC5-63911904D72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602262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A0317A-A83D-4DD5-96D0-741CEACD75DB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888066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4.v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7.v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8.v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08155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1552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888441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p:oleObj spid="_x0000_s4249" name="think-cell Slide" r:id="rId3" imgW="360" imgH="360" progId="">
              <p:embed/>
            </p:oleObj>
          </a:graphicData>
        </a:graphic>
      </p:graphicFrame>
      <p:pic>
        <p:nvPicPr>
          <p:cNvPr id="8" name="Picture 7"/>
          <p:cNvPicPr>
            <a:picLocks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233" t="106" r="9406" b="4609"/>
          <a:stretch/>
        </p:blipFill>
        <p:spPr>
          <a:xfrm>
            <a:off x="0" y="453529"/>
            <a:ext cx="12183668" cy="640426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 userDrawn="1"/>
        </p:nvSpPr>
        <p:spPr>
          <a:xfrm>
            <a:off x="2837962" y="-8515"/>
            <a:ext cx="9354038" cy="3648610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3265" dirty="0">
                <a:solidFill>
                  <a:srgbClr val="00ADEF"/>
                </a:solidFill>
              </a:rPr>
              <a:t>
</a:t>
            </a:r>
            <a:r>
              <a:rPr lang="en-US" sz="3265" dirty="0" smtClean="0">
                <a:solidFill>
                  <a:srgbClr val="00ADEF"/>
                </a:solidFill>
              </a:rPr>
              <a:t>    </a:t>
            </a:r>
            <a:r>
              <a:rPr lang="en-US" sz="3265" dirty="0">
                <a:solidFill>
                  <a:srgbClr val="00ADEF"/>
                </a:solidFill>
              </a:rPr>
              <a:t/>
            </a:r>
            <a:br>
              <a:rPr lang="en-US" sz="3265" dirty="0">
                <a:solidFill>
                  <a:srgbClr val="00ADEF"/>
                </a:solidFill>
              </a:rPr>
            </a:br>
            <a:endParaRPr lang="en-US" sz="3265" dirty="0">
              <a:solidFill>
                <a:srgbClr val="00ADE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2876668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288582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7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415501"/>
            <a:ext cx="4822214" cy="376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8034409" y="6349400"/>
            <a:ext cx="1085554" cy="21788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16" b="1" smtClean="0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/>
          <p:cNvSpPr txBox="1"/>
          <p:nvPr userDrawn="1"/>
        </p:nvSpPr>
        <p:spPr>
          <a:xfrm>
            <a:off x="8034410" y="6478979"/>
            <a:ext cx="2954655" cy="21788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smtClean="0">
                <a:solidFill>
                  <a:srgbClr val="FFFFFF"/>
                </a:solidFill>
              </a:rPr>
              <a:t>Last Modified 06.04.2017 15:27 Central Asia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8034409" y="6608559"/>
            <a:ext cx="2666114" cy="21788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smtClean="0">
                <a:solidFill>
                  <a:srgbClr val="FFFFFF"/>
                </a:solidFill>
              </a:rPr>
              <a:t>Printed 06.04.2017 08:36 Central Asia Standard Time</a:t>
            </a:r>
            <a:endParaRPr lang="ru-RU" sz="816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7550874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p:oleObj spid="_x0000_s5273" name="think-cell Slide" r:id="rId3" imgW="360" imgH="360" progId="">
              <p:embed/>
            </p:oleObj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334339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026102" y="37255"/>
            <a:ext cx="863529" cy="118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smtClean="0">
                <a:solidFill>
                  <a:srgbClr val="C5C5C5"/>
                </a:solidFill>
                <a:latin typeface="Arial"/>
              </a:rPr>
              <a:t>MSW-KZK025-20170123-BJ1sp-r</a:t>
            </a:r>
            <a:endParaRPr lang="en-US" sz="816" dirty="0">
              <a:solidFill>
                <a:srgbClr val="C5C5C5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8053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p:oleObj spid="_x0000_s6297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23187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1" y="1805566"/>
            <a:ext cx="5386918" cy="36931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1" y="2174875"/>
            <a:ext cx="5386918" cy="144642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805566"/>
            <a:ext cx="5389033" cy="36931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144642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6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32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6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32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6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302176B-0E47-46AC-8F43-DAB4B8A37D06}" type="slidenum">
              <a:rPr lang="tr-TR" sz="1632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tr-TR" sz="163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75714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6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6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62"/>
            <a:ext cx="2743200" cy="365125"/>
          </a:xfrm>
          <a:prstGeom prst="rect">
            <a:avLst/>
          </a:prstGeom>
        </p:spPr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925828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62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6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62"/>
            <a:ext cx="2743200" cy="365125"/>
          </a:xfrm>
          <a:prstGeom prst="rect">
            <a:avLst/>
          </a:prstGeom>
        </p:spPr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14848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p:oleObj spid="_x0000_s9288" name="think-cell Slide" r:id="rId3" imgW="360" imgH="360" progId="">
              <p:embed/>
            </p:oleObj>
          </a:graphicData>
        </a:graphic>
      </p:graphicFrame>
      <p:pic>
        <p:nvPicPr>
          <p:cNvPr id="8" name="Picture 7"/>
          <p:cNvPicPr>
            <a:picLocks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233" t="106" r="9406" b="4609"/>
          <a:stretch/>
        </p:blipFill>
        <p:spPr>
          <a:xfrm>
            <a:off x="0" y="453529"/>
            <a:ext cx="12183668" cy="640426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 userDrawn="1"/>
        </p:nvSpPr>
        <p:spPr>
          <a:xfrm>
            <a:off x="2837962" y="-8515"/>
            <a:ext cx="9354038" cy="3648610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20387" tIns="1469249" rIns="220387" bIns="110194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3265" dirty="0">
                <a:solidFill>
                  <a:srgbClr val="00ADEF"/>
                </a:solidFill>
              </a:rPr>
              <a:t>
</a:t>
            </a:r>
            <a:r>
              <a:rPr lang="en-US" sz="3265" dirty="0" smtClean="0">
                <a:solidFill>
                  <a:srgbClr val="00ADEF"/>
                </a:solidFill>
              </a:rPr>
              <a:t>    </a:t>
            </a:r>
            <a:r>
              <a:rPr lang="en-US" sz="3265" dirty="0">
                <a:solidFill>
                  <a:srgbClr val="00ADEF"/>
                </a:solidFill>
              </a:rPr>
              <a:t/>
            </a:r>
            <a:br>
              <a:rPr lang="en-US" sz="3265" dirty="0">
                <a:solidFill>
                  <a:srgbClr val="00ADEF"/>
                </a:solidFill>
              </a:rPr>
            </a:br>
            <a:endParaRPr lang="en-US" sz="3265" dirty="0">
              <a:solidFill>
                <a:srgbClr val="00ADE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7" y="1463555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7" y="2876668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288582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7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415501"/>
            <a:ext cx="4822214" cy="376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CONFIDENTIAL AND PROPRIETARY</a:t>
            </a:r>
          </a:p>
          <a:p>
            <a:pPr defTabSz="82120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8034409" y="6349400"/>
            <a:ext cx="1085554" cy="21788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816" b="1" smtClean="0">
                <a:solidFill>
                  <a:srgbClr val="FFFFFF"/>
                </a:solidFill>
              </a:rPr>
              <a:t>WORKING DRAFT</a:t>
            </a:r>
            <a:endParaRPr lang="ru-RU" sz="816" b="1">
              <a:solidFill>
                <a:srgbClr val="FFFFFF"/>
              </a:solidFill>
            </a:endParaRPr>
          </a:p>
        </p:txBody>
      </p:sp>
      <p:sp>
        <p:nvSpPr>
          <p:cNvPr id="4" name="Working Draft" hidden="1"/>
          <p:cNvSpPr txBox="1"/>
          <p:nvPr userDrawn="1"/>
        </p:nvSpPr>
        <p:spPr>
          <a:xfrm>
            <a:off x="8034410" y="6478979"/>
            <a:ext cx="2954655" cy="21788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smtClean="0">
                <a:solidFill>
                  <a:srgbClr val="FFFFFF"/>
                </a:solidFill>
              </a:rPr>
              <a:t>Last Modified 06.04.2017 15:27 Central Asia Standard Time</a:t>
            </a:r>
            <a:endParaRPr lang="ru-RU" sz="816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8034409" y="6608559"/>
            <a:ext cx="2666114" cy="21788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smtClean="0">
                <a:solidFill>
                  <a:srgbClr val="FFFFFF"/>
                </a:solidFill>
              </a:rPr>
              <a:t>Printed 06.04.2017 08:36 Central Asia Standard Time</a:t>
            </a:r>
            <a:endParaRPr lang="ru-RU" sz="816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923102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075741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p:oleObj spid="_x0000_s10312" name="think-cell Slide" r:id="rId3" imgW="360" imgH="360" progId="">
              <p:embed/>
            </p:oleObj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140177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4049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485994" y="6640499"/>
            <a:ext cx="102912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026102" y="37255"/>
            <a:ext cx="863529" cy="118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smtClean="0">
                <a:solidFill>
                  <a:srgbClr val="C5C5C5"/>
                </a:solidFill>
                <a:latin typeface="Arial"/>
              </a:rPr>
              <a:t>MSW-KZK025-20170123-BJ1sp-r</a:t>
            </a:r>
            <a:endParaRPr lang="en-US" sz="816" dirty="0">
              <a:solidFill>
                <a:srgbClr val="C5C5C5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49548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p:oleObj spid="_x0000_s11336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918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55663-0C8C-4ECB-84C2-FAFD5081FF9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21037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34DB7-7D9C-40EC-ABCA-BE22C968E23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14107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5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7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B934E-1109-4849-9390-D9C75284AF7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7110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CE4D68-F0D7-4B7B-98F4-B0581CEEA0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52562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9C950-C0BE-4634-B30F-F7D711533FF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27646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330A00-C2BA-43CB-A029-7B44BC1AB29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32891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81A46F-960A-474B-9B8F-46F0AC00FA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8312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5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7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878763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26424-A622-45D5-B548-5AF1B76BC17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355626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3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673300-6224-49C8-A689-A6A98CA36AE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53922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86105-C2EB-4E4E-B4EC-B2646E84CD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82744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3B0676-BADF-4A81-8326-F47B643F59E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81419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33065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28283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08526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214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3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00608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3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20130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5.vml"/><Relationship Id="rId11" Type="http://schemas.openxmlformats.org/officeDocument/2006/relationships/tags" Target="../tags/tag22.xml"/><Relationship Id="rId5" Type="http://schemas.openxmlformats.org/officeDocument/2006/relationships/theme" Target="../theme/theme3.xml"/><Relationship Id="rId15" Type="http://schemas.openxmlformats.org/officeDocument/2006/relationships/tags" Target="../tags/tag26.xml"/><Relationship Id="rId23" Type="http://schemas.openxmlformats.org/officeDocument/2006/relationships/oleObject" Target="../embeddings/oleObject5.bin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6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792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p:oleObj spid="_x0000_s3225" name="think-cell Slide" r:id="rId26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5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16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816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0990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 userDrawn="1"/>
        </p:nvSpPr>
        <p:spPr>
          <a:xfrm>
            <a:off x="11479249" y="6307690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0222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1440" y="285075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69509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" name="Working Draft" hidden="1"/>
          <p:cNvSpPr txBox="1"/>
          <p:nvPr userDrawn="1"/>
        </p:nvSpPr>
        <p:spPr>
          <a:xfrm rot="5400000">
            <a:off x="10809813" y="2592537"/>
            <a:ext cx="2591592" cy="18652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12" smtClean="0">
                <a:solidFill>
                  <a:srgbClr val="808080"/>
                </a:solidFill>
              </a:rPr>
              <a:t>Last Modified 06.04.2017 15:27 Central Asia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/>
          <p:cNvSpPr txBox="1"/>
          <p:nvPr userDrawn="1"/>
        </p:nvSpPr>
        <p:spPr>
          <a:xfrm rot="5400000">
            <a:off x="11457711" y="4489136"/>
            <a:ext cx="1295796" cy="28071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12" smtClean="0">
                <a:solidFill>
                  <a:srgbClr val="808080"/>
                </a:solidFill>
              </a:rPr>
              <a:t>Printed 06.04.2017 08:36 Central Asia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800046" y="6608163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2C328C1-A84F-4A39-A664-DBA00541A8C6}" type="slidenum">
              <a:rPr sz="1020">
                <a:solidFill>
                  <a:srgbClr val="808080"/>
                </a:solidFill>
              </a:rPr>
              <a:pPr/>
              <a:t>‹#›</a:t>
            </a:fld>
            <a:endParaRPr sz="102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0440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32" r:id="rId6"/>
    <p:sldLayoutId id="2147483733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p:oleObj spid="_x0000_s8264" name="think-cell Slide" r:id="rId23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4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5" y="77303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5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5" y="6432273"/>
            <a:ext cx="11725485" cy="333805"/>
            <a:chOff x="119063" y="6304223"/>
            <a:chExt cx="8618537" cy="327160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4223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16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5836"/>
              <a:ext cx="720000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816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09909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4511" y="291554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 userDrawn="1"/>
        </p:nvSpPr>
        <p:spPr>
          <a:xfrm>
            <a:off x="11479249" y="6307690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0222" y="285075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1440" y="285075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69509" y="255920"/>
            <a:ext cx="955651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" name="Working Draft" hidden="1"/>
          <p:cNvSpPr txBox="1"/>
          <p:nvPr userDrawn="1"/>
        </p:nvSpPr>
        <p:spPr>
          <a:xfrm rot="5400000">
            <a:off x="10809813" y="2592537"/>
            <a:ext cx="2591592" cy="186526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12" smtClean="0">
                <a:solidFill>
                  <a:srgbClr val="808080"/>
                </a:solidFill>
              </a:rPr>
              <a:t>Last Modified 06.04.2017 15:27 Central Asia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7" name="Printed" hidden="1"/>
          <p:cNvSpPr txBox="1"/>
          <p:nvPr userDrawn="1"/>
        </p:nvSpPr>
        <p:spPr>
          <a:xfrm rot="5400000">
            <a:off x="11457711" y="4489136"/>
            <a:ext cx="1295796" cy="28071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612" smtClean="0">
                <a:solidFill>
                  <a:srgbClr val="808080"/>
                </a:solidFill>
              </a:rPr>
              <a:t>Printed 06.04.2017 08:36 Central Asia Standard Time</a:t>
            </a:r>
            <a:endParaRPr lang="ru-RU" sz="612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800046" y="6608163"/>
            <a:ext cx="158697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2C328C1-A84F-4A39-A664-DBA00541A8C6}" type="slidenum">
              <a:rPr sz="1020">
                <a:solidFill>
                  <a:srgbClr val="808080"/>
                </a:solidFill>
              </a:rPr>
              <a:pPr/>
              <a:t>‹#›</a:t>
            </a:fld>
            <a:endParaRPr sz="102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13530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78E031-C2B9-4075-8623-8E0596D3735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8.0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6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6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2890A3-6440-48DA-A424-80D9AA57E5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9869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 txBox="1">
            <a:spLocks/>
          </p:cNvSpPr>
          <p:nvPr/>
        </p:nvSpPr>
        <p:spPr bwMode="auto">
          <a:xfrm>
            <a:off x="1381601" y="1897770"/>
            <a:ext cx="9428798" cy="2083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 anchor="ctr"/>
          <a:lstStyle>
            <a:lvl1pPr>
              <a:spcBef>
                <a:spcPts val="600"/>
              </a:spcBef>
              <a:buClr>
                <a:srgbClr val="28166F"/>
              </a:buClr>
              <a:buSzPct val="100000"/>
              <a:buFont typeface="Wingdings" pitchFamily="2" charset="2"/>
              <a:buChar char=""/>
              <a:defRPr sz="24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>
              <a:spcBef>
                <a:spcPts val="500"/>
              </a:spcBef>
              <a:buClr>
                <a:srgbClr val="28166F"/>
              </a:buClr>
              <a:buSzPct val="100000"/>
              <a:buFont typeface="Arial" pitchFamily="34" charset="0"/>
              <a:buChar char="–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>
              <a:spcBef>
                <a:spcPts val="500"/>
              </a:spcBef>
              <a:buClr>
                <a:srgbClr val="28166F"/>
              </a:buClr>
              <a:buSzPct val="100000"/>
              <a:buFont typeface="Arial" pitchFamily="34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>
              <a:spcBef>
                <a:spcPts val="500"/>
              </a:spcBef>
              <a:buClr>
                <a:srgbClr val="28166F"/>
              </a:buClr>
              <a:buSzPct val="100000"/>
              <a:buFont typeface="Arial" pitchFamily="34" charset="0"/>
              <a:buChar char="–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>
              <a:spcBef>
                <a:spcPts val="500"/>
              </a:spcBef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>
              <a:spcBef>
                <a:spcPts val="0"/>
              </a:spcBef>
              <a:buNone/>
            </a:pPr>
            <a:r>
              <a:rPr lang="ru-RU" sz="28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Приказы по разделению пакетов </a:t>
            </a:r>
          </a:p>
          <a:p>
            <a:pPr algn="ctr">
              <a:spcBef>
                <a:spcPts val="0"/>
              </a:spcBef>
              <a:buNone/>
            </a:pPr>
            <a:r>
              <a:rPr lang="ru-RU" sz="2800" b="1" dirty="0" smtClean="0">
                <a:solidFill>
                  <a:srgbClr val="002060"/>
                </a:solidFill>
                <a:latin typeface="Century Gothic" panose="020B0502020202020204" pitchFamily="34" charset="0"/>
                <a:ea typeface="+mj-ea"/>
                <a:cs typeface="Arial" panose="020B0604020202020204" pitchFamily="34" charset="0"/>
              </a:rPr>
              <a:t>медицинской помощи в рамках ГОБМП и                            в системе ОСМС</a:t>
            </a:r>
            <a:endParaRPr lang="ru-RU" sz="2800" dirty="0">
              <a:solidFill>
                <a:srgbClr val="002060"/>
              </a:solidFill>
              <a:latin typeface="Century Gothic" panose="020B0502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8435" name="Подзаголовок 2"/>
          <p:cNvSpPr txBox="1">
            <a:spLocks/>
          </p:cNvSpPr>
          <p:nvPr/>
        </p:nvSpPr>
        <p:spPr bwMode="auto">
          <a:xfrm>
            <a:off x="2588626" y="5367350"/>
            <a:ext cx="6866468" cy="98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/>
          <a:lstStyle>
            <a:lvl1pPr defTabSz="912813">
              <a:spcBef>
                <a:spcPts val="600"/>
              </a:spcBef>
              <a:buClr>
                <a:srgbClr val="28166F"/>
              </a:buClr>
              <a:buSzPct val="100000"/>
              <a:buFont typeface="Wingdings" pitchFamily="2" charset="2"/>
              <a:buChar char=""/>
              <a:defRPr sz="24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  <a:lvl2pPr marL="741363" indent="-284163" defTabSz="912813">
              <a:spcBef>
                <a:spcPts val="500"/>
              </a:spcBef>
              <a:buClr>
                <a:srgbClr val="28166F"/>
              </a:buClr>
              <a:buSzPct val="100000"/>
              <a:buFont typeface="Arial" pitchFamily="34" charset="0"/>
              <a:buChar char="–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defTabSz="912813">
              <a:spcBef>
                <a:spcPts val="500"/>
              </a:spcBef>
              <a:buClr>
                <a:srgbClr val="28166F"/>
              </a:buClr>
              <a:buSzPct val="100000"/>
              <a:buFont typeface="Arial" pitchFamily="34" charset="0"/>
              <a:buChar char="•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defTabSz="912813">
              <a:spcBef>
                <a:spcPts val="500"/>
              </a:spcBef>
              <a:buClr>
                <a:srgbClr val="28166F"/>
              </a:buClr>
              <a:buSzPct val="100000"/>
              <a:buFont typeface="Arial" pitchFamily="34" charset="0"/>
              <a:buChar char="–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defTabSz="912813">
              <a:spcBef>
                <a:spcPts val="500"/>
              </a:spcBef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912813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912813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912813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912813" eaLnBrk="0" fontAlgn="base" hangingPunct="0">
              <a:spcBef>
                <a:spcPts val="500"/>
              </a:spcBef>
              <a:spcAft>
                <a:spcPct val="0"/>
              </a:spcAft>
              <a:buClr>
                <a:srgbClr val="28166F"/>
              </a:buClr>
              <a:buSzPct val="100000"/>
              <a:buFont typeface="Arial" pitchFamily="34" charset="0"/>
              <a:buChar char="»"/>
              <a:defRPr sz="2000">
                <a:solidFill>
                  <a:srgbClr val="000000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fontAlgn="base"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defRPr/>
            </a:pPr>
            <a:r>
              <a:rPr lang="ru-RU" altLang="ru-RU" sz="1600" b="1" dirty="0" smtClean="0">
                <a:latin typeface="Century Gothic" panose="020B0502020202020204" pitchFamily="34" charset="0"/>
              </a:rPr>
              <a:t>Директор Департамента организации медицинской помощи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defRPr/>
            </a:pPr>
            <a:r>
              <a:rPr lang="ru-RU" altLang="ru-RU" sz="1600" b="1" dirty="0" err="1" smtClean="0">
                <a:latin typeface="Century Gothic" panose="020B0502020202020204" pitchFamily="34" charset="0"/>
              </a:rPr>
              <a:t>Хорошаш</a:t>
            </a:r>
            <a:r>
              <a:rPr lang="ru-RU" altLang="ru-RU" sz="1600" b="1" dirty="0" smtClean="0">
                <a:latin typeface="Century Gothic" panose="020B0502020202020204" pitchFamily="34" charset="0"/>
              </a:rPr>
              <a:t> А.Н.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defRPr/>
            </a:pPr>
            <a:endParaRPr lang="ru-RU" altLang="ru-RU" sz="1600" dirty="0">
              <a:latin typeface="Century Gothic" panose="020B0502020202020204" pitchFamily="34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defRPr/>
            </a:pPr>
            <a:r>
              <a:rPr lang="ru-RU" altLang="ru-RU" sz="1600" b="1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и</a:t>
            </a:r>
            <a:r>
              <a:rPr lang="ru-RU" alt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юль 2019 г.</a:t>
            </a:r>
          </a:p>
        </p:txBody>
      </p:sp>
      <p:pic>
        <p:nvPicPr>
          <p:cNvPr id="18436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90469"/>
          <a:stretch>
            <a:fillRect/>
          </a:stretch>
        </p:blipFill>
        <p:spPr bwMode="auto">
          <a:xfrm>
            <a:off x="348062" y="238867"/>
            <a:ext cx="1096433" cy="77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07092" y="338397"/>
            <a:ext cx="12192000" cy="400050"/>
          </a:xfrm>
          <a:prstGeom prst="rect">
            <a:avLst/>
          </a:prstGeom>
        </p:spPr>
        <p:txBody>
          <a:bodyPr lIns="91435" tIns="45718" rIns="91435" bIns="45718">
            <a:spAutoFit/>
          </a:bodyPr>
          <a:lstStyle/>
          <a:p>
            <a:pPr algn="ctr" defTabSz="914354">
              <a:defRPr/>
            </a:pPr>
            <a:r>
              <a:rPr lang="ru-RU" sz="2000" b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Министерство здравоохранения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xmlns="" val="2109211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/>
        </p:nvSpPr>
        <p:spPr>
          <a:xfrm>
            <a:off x="-1" y="0"/>
            <a:ext cx="12192000" cy="457200"/>
          </a:xfrm>
          <a:prstGeom prst="rect">
            <a:avLst/>
          </a:prstGeom>
          <a:solidFill>
            <a:srgbClr val="C9F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199" tIns="36199" rIns="36199" bIns="36199" rtlCol="0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65B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defTabSz="900255">
              <a:tabLst>
                <a:tab pos="271358" algn="l"/>
              </a:tabLst>
            </a:pPr>
            <a:endParaRPr lang="ru-RU" altLang="ru-RU" sz="2000" b="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2" name="Rectangle 22"/>
          <p:cNvSpPr>
            <a:spLocks/>
          </p:cNvSpPr>
          <p:nvPr/>
        </p:nvSpPr>
        <p:spPr>
          <a:xfrm>
            <a:off x="1221341" y="981779"/>
            <a:ext cx="10489690" cy="555089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4535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endParaRPr lang="en-GB" sz="1428" b="1" dirty="0">
              <a:solidFill>
                <a:srgbClr val="002960"/>
              </a:solidFill>
            </a:endParaRPr>
          </a:p>
        </p:txBody>
      </p:sp>
      <p:sp>
        <p:nvSpPr>
          <p:cNvPr id="41" name="Заголовок 11"/>
          <p:cNvSpPr txBox="1">
            <a:spLocks/>
          </p:cNvSpPr>
          <p:nvPr/>
        </p:nvSpPr>
        <p:spPr>
          <a:xfrm>
            <a:off x="52323" y="-302932"/>
            <a:ext cx="12191999" cy="4255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913526" fontAlgn="base">
              <a:lnSpc>
                <a:spcPct val="100000"/>
              </a:lnSpc>
              <a:spcAft>
                <a:spcPct val="0"/>
              </a:spcAft>
              <a:tabLst>
                <a:tab pos="275353" algn="l"/>
              </a:tabLst>
              <a:defRPr/>
            </a:pPr>
            <a:r>
              <a:rPr lang="en-US" sz="2400" b="1" kern="0" dirty="0" smtClean="0">
                <a:solidFill>
                  <a:srgbClr val="002960"/>
                </a:solidFill>
                <a:latin typeface="Arial"/>
              </a:rPr>
              <a:t>III. </a:t>
            </a:r>
            <a:r>
              <a:rPr lang="ru-RU" sz="2400" b="1" kern="0" dirty="0" smtClean="0">
                <a:solidFill>
                  <a:srgbClr val="002960"/>
                </a:solidFill>
                <a:latin typeface="Arial"/>
              </a:rPr>
              <a:t>Совершенствование Правил </a:t>
            </a:r>
            <a:r>
              <a:rPr lang="ru-RU" sz="2400" b="1" kern="0" dirty="0">
                <a:solidFill>
                  <a:srgbClr val="002960"/>
                </a:solidFill>
                <a:latin typeface="Arial"/>
              </a:rPr>
              <a:t>оказания </a:t>
            </a:r>
            <a:r>
              <a:rPr lang="ru-RU" sz="2400" b="1" kern="0" dirty="0" err="1">
                <a:solidFill>
                  <a:srgbClr val="002960"/>
                </a:solidFill>
                <a:latin typeface="Arial"/>
              </a:rPr>
              <a:t>стационарозамещающей</a:t>
            </a:r>
            <a:r>
              <a:rPr lang="ru-RU" sz="2400" b="1" kern="0" dirty="0">
                <a:solidFill>
                  <a:srgbClr val="002960"/>
                </a:solidFill>
                <a:latin typeface="Arial"/>
              </a:rPr>
              <a:t> помощи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6947134" y="3757226"/>
            <a:ext cx="6301130" cy="1873755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0" bIns="0"/>
          <a:lstStyle/>
          <a:p>
            <a:pPr marL="285750" indent="-285750">
              <a:buFont typeface="Wingdings" panose="05000000000000000000" pitchFamily="2" charset="2"/>
              <a:buChar char="ü"/>
              <a:defRPr/>
            </a:pPr>
            <a:endParaRPr lang="ru-RU" sz="1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oup 29"/>
          <p:cNvGrpSpPr/>
          <p:nvPr/>
        </p:nvGrpSpPr>
        <p:grpSpPr>
          <a:xfrm>
            <a:off x="1608372" y="511581"/>
            <a:ext cx="9143461" cy="527360"/>
            <a:chOff x="0" y="1348879"/>
            <a:chExt cx="8961438" cy="568548"/>
          </a:xfrm>
        </p:grpSpPr>
        <p:sp>
          <p:nvSpPr>
            <p:cNvPr id="17" name="Rectangle 136"/>
            <p:cNvSpPr>
              <a:spLocks noChangeArrowheads="1"/>
            </p:cNvSpPr>
            <p:nvPr/>
          </p:nvSpPr>
          <p:spPr bwMode="auto">
            <a:xfrm>
              <a:off x="0" y="1348879"/>
              <a:ext cx="8961438" cy="568548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2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8" name="Straight Connector 31"/>
            <p:cNvCxnSpPr>
              <a:cxnSpLocks/>
            </p:cNvCxnSpPr>
            <p:nvPr/>
          </p:nvCxnSpPr>
          <p:spPr>
            <a:xfrm>
              <a:off x="0" y="1348879"/>
              <a:ext cx="8961438" cy="0"/>
            </a:xfrm>
            <a:prstGeom prst="line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</a:ln>
            <a:effectLst/>
          </p:spPr>
        </p:cxnSp>
      </p:grpSp>
      <p:sp>
        <p:nvSpPr>
          <p:cNvPr id="4" name="TextBox 3"/>
          <p:cNvSpPr txBox="1"/>
          <p:nvPr/>
        </p:nvSpPr>
        <p:spPr>
          <a:xfrm>
            <a:off x="1453943" y="1202245"/>
            <a:ext cx="9762138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 defTabSz="266700">
              <a:buAutoNum type="arabicPeriod"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зделены перечни заболеваний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 кодам МКБ-10 в рамках ГОБМП и в системе ОСМС: 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defTabSz="266700">
              <a:buAutoNum type="arabicPeriod"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266700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КБ-10</a:t>
            </a: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БМП: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-значимые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левания и 25 групп заболеваний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лежащих, динамическому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блюдению </a:t>
            </a: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МС: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левания, за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м вышеуказанных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леваний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266700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пределен Единый перечень (в рамках ГОБМП и в системе ОСМС) операций и манипуляций по кодам МКБ-9 для преимущественного лечения в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невном стационаре</a:t>
            </a:r>
          </a:p>
          <a:p>
            <a:pPr algn="just" defTabSz="266700"/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266700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КБ-9  </a:t>
            </a: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 defTabSz="266700">
              <a:buFont typeface="Wingdings" panose="05000000000000000000" pitchFamily="2" charset="2"/>
              <a:buChar char="Ø"/>
            </a:pP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75805225"/>
              </p:ext>
            </p:extLst>
          </p:nvPr>
        </p:nvGraphicFramePr>
        <p:xfrm>
          <a:off x="2573106" y="1736521"/>
          <a:ext cx="7921520" cy="670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80380"/>
                <a:gridCol w="1980380"/>
                <a:gridCol w="1980380"/>
                <a:gridCol w="1980380"/>
              </a:tblGrid>
              <a:tr h="32743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городе (</a:t>
                      </a:r>
                      <a:r>
                        <a:rPr lang="ru-RU" sz="16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44</a:t>
                      </a:r>
                      <a:r>
                        <a:rPr lang="ru-RU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дов)</a:t>
                      </a:r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селе (</a:t>
                      </a:r>
                      <a:r>
                        <a:rPr lang="ru-RU" sz="16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600" b="1" baseline="0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969 </a:t>
                      </a:r>
                      <a:r>
                        <a:rPr lang="ru-RU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дов)</a:t>
                      </a:r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7002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БМП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МС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БМП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МС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33885126"/>
              </p:ext>
            </p:extLst>
          </p:nvPr>
        </p:nvGraphicFramePr>
        <p:xfrm>
          <a:off x="2461675" y="4469210"/>
          <a:ext cx="8128000" cy="741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32000"/>
                <a:gridCol w="2032000"/>
                <a:gridCol w="2032000"/>
                <a:gridCol w="2032000"/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  <a:r>
                        <a:rPr lang="ru-RU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роде</a:t>
                      </a:r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селе</a:t>
                      </a:r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ДС при АПО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ДС</a:t>
                      </a:r>
                      <a:r>
                        <a:rPr lang="ru-RU" sz="1600" b="1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 КС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ДС при АПО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ДС</a:t>
                      </a:r>
                      <a:r>
                        <a:rPr lang="ru-RU" sz="1600" b="1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и КС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kk-KZ" sz="1800" dirty="0" smtClean="0"/>
              <a:t>10</a:t>
            </a:r>
            <a:endParaRPr lang="ru-RU" sz="1800" dirty="0"/>
          </a:p>
        </p:txBody>
      </p:sp>
      <p:sp>
        <p:nvSpPr>
          <p:cNvPr id="2" name="TextBox 1"/>
          <p:cNvSpPr txBox="1"/>
          <p:nvPr/>
        </p:nvSpPr>
        <p:spPr>
          <a:xfrm>
            <a:off x="1608372" y="5859087"/>
            <a:ext cx="55702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kk-KZ" sz="16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В зависимости от основного заболевания</a:t>
            </a:r>
            <a:endParaRPr lang="ru-RU" sz="1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8240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 txBox="1">
            <a:spLocks/>
          </p:cNvSpPr>
          <p:nvPr/>
        </p:nvSpPr>
        <p:spPr>
          <a:xfrm>
            <a:off x="-1" y="0"/>
            <a:ext cx="12192000" cy="457200"/>
          </a:xfrm>
          <a:prstGeom prst="rect">
            <a:avLst/>
          </a:prstGeom>
          <a:solidFill>
            <a:srgbClr val="C9F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199" tIns="36199" rIns="36199" bIns="36199" rtlCol="0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65B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defTabSz="900255">
              <a:tabLst>
                <a:tab pos="271358" algn="l"/>
              </a:tabLst>
            </a:pPr>
            <a:endParaRPr lang="ru-RU" altLang="ru-RU" sz="2000" b="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Rectangle 22"/>
          <p:cNvSpPr>
            <a:spLocks/>
          </p:cNvSpPr>
          <p:nvPr/>
        </p:nvSpPr>
        <p:spPr>
          <a:xfrm>
            <a:off x="767477" y="891852"/>
            <a:ext cx="10489690" cy="555089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4535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endParaRPr lang="en-GB" sz="1428" b="1" dirty="0">
              <a:solidFill>
                <a:srgbClr val="002960"/>
              </a:solidFill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6947134" y="3757226"/>
            <a:ext cx="6301130" cy="1873755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0" bIns="0"/>
          <a:lstStyle/>
          <a:p>
            <a:pPr marL="285750" indent="-285750">
              <a:buFont typeface="Wingdings" panose="05000000000000000000" pitchFamily="2" charset="2"/>
              <a:buChar char="ü"/>
              <a:defRPr/>
            </a:pPr>
            <a:endParaRPr lang="ru-RU" sz="10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oup 29"/>
          <p:cNvGrpSpPr/>
          <p:nvPr/>
        </p:nvGrpSpPr>
        <p:grpSpPr>
          <a:xfrm>
            <a:off x="1608372" y="511581"/>
            <a:ext cx="9143461" cy="527360"/>
            <a:chOff x="0" y="1348879"/>
            <a:chExt cx="8961438" cy="568548"/>
          </a:xfrm>
        </p:grpSpPr>
        <p:sp>
          <p:nvSpPr>
            <p:cNvPr id="17" name="Rectangle 136"/>
            <p:cNvSpPr>
              <a:spLocks noChangeArrowheads="1"/>
            </p:cNvSpPr>
            <p:nvPr/>
          </p:nvSpPr>
          <p:spPr bwMode="auto">
            <a:xfrm>
              <a:off x="0" y="1348879"/>
              <a:ext cx="8961438" cy="568548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2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8" name="Straight Connector 31"/>
            <p:cNvCxnSpPr>
              <a:cxnSpLocks/>
            </p:cNvCxnSpPr>
            <p:nvPr/>
          </p:nvCxnSpPr>
          <p:spPr>
            <a:xfrm>
              <a:off x="0" y="1348879"/>
              <a:ext cx="8961438" cy="0"/>
            </a:xfrm>
            <a:prstGeom prst="line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</a:ln>
            <a:effectLst/>
          </p:spPr>
        </p:cxnSp>
      </p:grpSp>
      <p:sp>
        <p:nvSpPr>
          <p:cNvPr id="4" name="TextBox 3"/>
          <p:cNvSpPr txBox="1"/>
          <p:nvPr/>
        </p:nvSpPr>
        <p:spPr>
          <a:xfrm>
            <a:off x="1299876" y="1038941"/>
            <a:ext cx="897663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 defTabSz="266700">
              <a:buAutoNum type="arabicPeriod"/>
            </a:pP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зделены перечни заболеваний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о кодам МКБ-10 в рамках ГОБМП и в системе ОСМС: 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defTabSz="266700">
              <a:buAutoNum type="arabicPeriod"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266700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КБ-10</a:t>
            </a: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БМП: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-значимые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левания и 25 групп заболеваний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лежащих, динамическому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блюдению </a:t>
            </a: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МС: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левания, за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м вышеуказанных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леваний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266700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Определен Единый перечень (в рамках ГОБМП и в системе ОСМС) операций и манипуляций по кодам МКБ-9 для преимущественного лечения в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углосуточном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стационаре</a:t>
            </a: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266700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КБ-9  </a:t>
            </a: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266700"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 defTabSz="266700">
              <a:buFont typeface="Wingdings" panose="05000000000000000000" pitchFamily="2" charset="2"/>
              <a:buChar char="Ø"/>
            </a:pP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00140764"/>
              </p:ext>
            </p:extLst>
          </p:nvPr>
        </p:nvGraphicFramePr>
        <p:xfrm>
          <a:off x="2573106" y="1736521"/>
          <a:ext cx="7921520" cy="670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80380"/>
                <a:gridCol w="1980380"/>
                <a:gridCol w="1980380"/>
                <a:gridCol w="1980380"/>
              </a:tblGrid>
              <a:tr h="327434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городе (</a:t>
                      </a:r>
                      <a:r>
                        <a:rPr lang="ru-RU" sz="16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ru-RU" sz="1600" b="1" baseline="0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66</a:t>
                      </a:r>
                      <a:r>
                        <a:rPr lang="ru-RU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дов)</a:t>
                      </a:r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селе (</a:t>
                      </a:r>
                      <a:r>
                        <a:rPr lang="ru-RU" sz="16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600" b="1" baseline="0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78 </a:t>
                      </a:r>
                      <a:r>
                        <a:rPr lang="ru-RU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дов)</a:t>
                      </a:r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7002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БМП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МС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БМП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МС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98395006"/>
              </p:ext>
            </p:extLst>
          </p:nvPr>
        </p:nvGraphicFramePr>
        <p:xfrm>
          <a:off x="2461675" y="4605556"/>
          <a:ext cx="8128000" cy="335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064000"/>
                <a:gridCol w="4064000"/>
              </a:tblGrid>
              <a:tr h="284828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</a:t>
                      </a:r>
                      <a:r>
                        <a:rPr lang="ru-RU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роде (</a:t>
                      </a:r>
                      <a:r>
                        <a:rPr lang="ru-RU" sz="1600" b="1" baseline="0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6</a:t>
                      </a:r>
                      <a:r>
                        <a:rPr lang="ru-RU" sz="1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дов)</a:t>
                      </a:r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селе (</a:t>
                      </a:r>
                      <a:r>
                        <a:rPr lang="ru-RU" sz="16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6</a:t>
                      </a:r>
                      <a:r>
                        <a:rPr 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дов)</a:t>
                      </a:r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Заголовок 11"/>
          <p:cNvSpPr txBox="1">
            <a:spLocks/>
          </p:cNvSpPr>
          <p:nvPr/>
        </p:nvSpPr>
        <p:spPr>
          <a:xfrm>
            <a:off x="84102" y="-345431"/>
            <a:ext cx="12191999" cy="4255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4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913526" fontAlgn="base">
              <a:lnSpc>
                <a:spcPct val="100000"/>
              </a:lnSpc>
              <a:spcAft>
                <a:spcPct val="0"/>
              </a:spcAft>
              <a:tabLst>
                <a:tab pos="275353" algn="l"/>
              </a:tabLst>
              <a:defRPr/>
            </a:pPr>
            <a:r>
              <a:rPr lang="en-US" sz="2400" b="1" kern="0" dirty="0" smtClean="0">
                <a:solidFill>
                  <a:srgbClr val="002960"/>
                </a:solidFill>
                <a:latin typeface="Arial"/>
              </a:rPr>
              <a:t>IV. </a:t>
            </a:r>
            <a:r>
              <a:rPr lang="ru-RU" sz="2400" b="1" kern="0" dirty="0" smtClean="0">
                <a:solidFill>
                  <a:srgbClr val="002960"/>
                </a:solidFill>
                <a:latin typeface="Arial"/>
              </a:rPr>
              <a:t>Совершенствование </a:t>
            </a:r>
            <a:r>
              <a:rPr lang="ru-RU" sz="2400" b="1" kern="0" dirty="0">
                <a:solidFill>
                  <a:srgbClr val="002960"/>
                </a:solidFill>
                <a:latin typeface="Arial"/>
              </a:rPr>
              <a:t>Правил оказания стационарной помощи</a:t>
            </a:r>
          </a:p>
        </p:txBody>
      </p:sp>
      <p:sp>
        <p:nvSpPr>
          <p:cNvPr id="12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kk-KZ" sz="1800" dirty="0" smtClean="0"/>
              <a:t>11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xmlns="" val="2442991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Заголовок 1"/>
          <p:cNvSpPr txBox="1">
            <a:spLocks/>
          </p:cNvSpPr>
          <p:nvPr/>
        </p:nvSpPr>
        <p:spPr>
          <a:xfrm>
            <a:off x="-1" y="0"/>
            <a:ext cx="12192000" cy="457200"/>
          </a:xfrm>
          <a:prstGeom prst="rect">
            <a:avLst/>
          </a:prstGeom>
          <a:solidFill>
            <a:srgbClr val="C9F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199" tIns="36199" rIns="36199" bIns="36199" rtlCol="0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65B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defTabSz="900255">
              <a:tabLst>
                <a:tab pos="271358" algn="l"/>
              </a:tabLst>
            </a:pPr>
            <a:endParaRPr lang="ru-RU" altLang="ru-RU" sz="2000" b="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3" name="Rectangle 22"/>
          <p:cNvSpPr>
            <a:spLocks/>
          </p:cNvSpPr>
          <p:nvPr/>
        </p:nvSpPr>
        <p:spPr>
          <a:xfrm>
            <a:off x="5265055" y="4083214"/>
            <a:ext cx="6787813" cy="1314742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4535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endParaRPr lang="en-GB" sz="1428" b="1" dirty="0">
              <a:solidFill>
                <a:srgbClr val="002960"/>
              </a:solidFill>
            </a:endParaRPr>
          </a:p>
        </p:txBody>
      </p:sp>
      <p:sp>
        <p:nvSpPr>
          <p:cNvPr id="42" name="Rectangle 7"/>
          <p:cNvSpPr>
            <a:spLocks noChangeArrowheads="1"/>
          </p:cNvSpPr>
          <p:nvPr/>
        </p:nvSpPr>
        <p:spPr bwMode="gray">
          <a:xfrm>
            <a:off x="131080" y="4067080"/>
            <a:ext cx="5050233" cy="1330875"/>
          </a:xfrm>
          <a:prstGeom prst="rect">
            <a:avLst/>
          </a:prstGeom>
          <a:solidFill>
            <a:srgbClr val="C9F0FF"/>
          </a:solidFill>
          <a:ln w="12700">
            <a:noFill/>
            <a:miter lim="800000"/>
            <a:headEnd/>
            <a:tailEnd/>
          </a:ln>
          <a:effectLst>
            <a:softEdge rad="12700"/>
          </a:effectLst>
        </p:spPr>
        <p:txBody>
          <a:bodyPr vert="horz" wrap="square" lIns="74638" tIns="73472" rIns="73472" bIns="73472" numCol="1" anchor="ctr" anchorCtr="0" compatLnSpc="1">
            <a:prstTxWarp prst="textNoShape">
              <a:avLst/>
            </a:prstTxWarp>
            <a:noAutofit/>
          </a:bodyPr>
          <a:lstStyle/>
          <a:p>
            <a:pPr marL="464862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GB" sz="1428" b="1" i="0" u="none" strike="noStrike" kern="0" cap="none" spc="0" normalizeH="0" baseline="0" noProof="0" dirty="0" smtClean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1" name="Rectangle 22"/>
          <p:cNvSpPr>
            <a:spLocks/>
          </p:cNvSpPr>
          <p:nvPr/>
        </p:nvSpPr>
        <p:spPr>
          <a:xfrm>
            <a:off x="5158393" y="609597"/>
            <a:ext cx="6814073" cy="3196281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4535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endParaRPr lang="en-GB" sz="1428" b="1" dirty="0">
              <a:solidFill>
                <a:srgbClr val="002960"/>
              </a:solidFill>
            </a:endParaRPr>
          </a:p>
        </p:txBody>
      </p:sp>
      <p:sp>
        <p:nvSpPr>
          <p:cNvPr id="40" name="Rectangle 7"/>
          <p:cNvSpPr>
            <a:spLocks noChangeArrowheads="1"/>
          </p:cNvSpPr>
          <p:nvPr/>
        </p:nvSpPr>
        <p:spPr bwMode="gray">
          <a:xfrm>
            <a:off x="131082" y="609597"/>
            <a:ext cx="5050232" cy="3196281"/>
          </a:xfrm>
          <a:prstGeom prst="rect">
            <a:avLst/>
          </a:prstGeom>
          <a:solidFill>
            <a:srgbClr val="C9F0FF"/>
          </a:solidFill>
          <a:ln w="12700">
            <a:noFill/>
            <a:miter lim="800000"/>
            <a:headEnd/>
            <a:tailEnd/>
          </a:ln>
          <a:effectLst>
            <a:softEdge rad="12700"/>
          </a:effectLst>
        </p:spPr>
        <p:txBody>
          <a:bodyPr vert="horz" wrap="square" lIns="74638" tIns="73472" rIns="73472" bIns="73472" numCol="1" anchor="ctr" anchorCtr="0" compatLnSpc="1">
            <a:prstTxWarp prst="textNoShape">
              <a:avLst/>
            </a:prstTxWarp>
            <a:noAutofit/>
          </a:bodyPr>
          <a:lstStyle/>
          <a:p>
            <a:pPr marL="464862" marR="0" lvl="0" indent="0" defTabSz="91352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endParaRPr kumimoji="0" lang="en-GB" sz="1428" b="1" i="0" u="none" strike="noStrike" kern="0" cap="none" spc="0" normalizeH="0" baseline="0" noProof="0" dirty="0" smtClean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16851713"/>
              </p:ext>
            </p:extLst>
          </p:nvPr>
        </p:nvGraphicFramePr>
        <p:xfrm>
          <a:off x="131082" y="617835"/>
          <a:ext cx="5063571" cy="3163330"/>
        </p:xfrm>
        <a:graphic>
          <a:graphicData uri="http://schemas.openxmlformats.org/drawingml/2006/table">
            <a:tbl>
              <a:tblPr/>
              <a:tblGrid>
                <a:gridCol w="5063571"/>
              </a:tblGrid>
              <a:tr h="3163330">
                <a:tc>
                  <a:txBody>
                    <a:bodyPr/>
                    <a:lstStyle/>
                    <a:p>
                      <a:pPr algn="ctr"/>
                      <a:r>
                        <a:rPr lang="kk-KZ" sz="1400" b="1" u="sng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екущая редакция</a:t>
                      </a:r>
                    </a:p>
                    <a:p>
                      <a:pPr algn="l"/>
                      <a:r>
                        <a:rPr lang="kk-KZ" sz="1200" b="1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І</a:t>
                      </a:r>
                      <a:r>
                        <a:rPr lang="kk-KZ" sz="1200" b="1" baseline="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ний этап </a:t>
                      </a:r>
                      <a:r>
                        <a:rPr lang="kk-KZ" sz="12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(в остром, подостром периоде заболевания или травмы)</a:t>
                      </a:r>
                    </a:p>
                    <a:p>
                      <a:pPr algn="l"/>
                      <a:r>
                        <a:rPr lang="kk-KZ" sz="1200" b="1" baseline="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ІІ этапы </a:t>
                      </a:r>
                      <a:r>
                        <a:rPr lang="kk-KZ" sz="12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продолжающийся (в раннем восстановительном периоде)</a:t>
                      </a:r>
                    </a:p>
                    <a:p>
                      <a:pPr algn="l"/>
                      <a:endParaRPr lang="kk-KZ" sz="1200" b="1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q"/>
                      </a:pPr>
                      <a:r>
                        <a:rPr lang="kk-KZ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В круглосуточных 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k-KZ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стационарах</a:t>
                      </a:r>
                    </a:p>
                    <a:p>
                      <a:pPr marL="285750" indent="-285750">
                        <a:buFont typeface="Wingdings" pitchFamily="2" charset="2"/>
                        <a:buChar char="q"/>
                      </a:pPr>
                      <a:endParaRPr lang="kk-KZ" sz="1200" i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285750" indent="-285750">
                        <a:buFont typeface="Wingdings" pitchFamily="2" charset="2"/>
                        <a:buChar char="q"/>
                      </a:pPr>
                      <a:endParaRPr lang="kk-KZ" sz="1200" i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k-KZ" sz="1200" b="1" i="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ІІІ</a:t>
                      </a:r>
                      <a:r>
                        <a:rPr lang="kk-KZ" sz="1200" b="1" i="0" baseline="0" dirty="0" smtClean="0">
                          <a:solidFill>
                            <a:srgbClr val="C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этап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k-KZ" sz="1200" b="1" i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Восстановительный (отдаленный) период</a:t>
                      </a:r>
                    </a:p>
                    <a:p>
                      <a:pPr marL="171450" indent="-171450">
                        <a:buFont typeface="Wingdings" pitchFamily="2" charset="2"/>
                        <a:buChar char="q"/>
                      </a:pPr>
                      <a:r>
                        <a:rPr lang="kk-KZ" sz="1200" b="1" i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kk-KZ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В детских республиканских 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k-KZ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центрах </a:t>
                      </a:r>
                    </a:p>
                    <a:p>
                      <a:pPr marL="171450" indent="-171450">
                        <a:buFont typeface="Wingdings" pitchFamily="2" charset="2"/>
                        <a:buChar char="q"/>
                      </a:pPr>
                      <a:endParaRPr lang="kk-KZ" sz="1200" b="0" i="1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171450" indent="-171450">
                        <a:buFont typeface="Wingdings" pitchFamily="2" charset="2"/>
                        <a:buChar char="q"/>
                      </a:pPr>
                      <a:r>
                        <a:rPr lang="kk-KZ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На амбулаторном уровне 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k-KZ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уют 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r>
                        <a:rPr lang="kk-KZ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тарифы, лечение не проводится</a:t>
                      </a:r>
                      <a:endParaRPr lang="ru-RU" sz="1200" b="1" i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57188066"/>
              </p:ext>
            </p:extLst>
          </p:nvPr>
        </p:nvGraphicFramePr>
        <p:xfrm>
          <a:off x="5231903" y="617835"/>
          <a:ext cx="6759800" cy="3171567"/>
        </p:xfrm>
        <a:graphic>
          <a:graphicData uri="http://schemas.openxmlformats.org/drawingml/2006/table">
            <a:tbl>
              <a:tblPr/>
              <a:tblGrid>
                <a:gridCol w="6759800"/>
              </a:tblGrid>
              <a:tr h="3171567">
                <a:tc>
                  <a:txBody>
                    <a:bodyPr/>
                    <a:lstStyle/>
                    <a:p>
                      <a:pPr algn="ctr"/>
                      <a:r>
                        <a:rPr lang="kk-KZ" sz="1400" b="1" u="sng" dirty="0" smtClean="0">
                          <a:solidFill>
                            <a:srgbClr val="00206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лагаемая редакция</a:t>
                      </a:r>
                      <a:endParaRPr lang="ru-RU" sz="1400" b="1" u="sng" dirty="0" smtClean="0">
                        <a:solidFill>
                          <a:srgbClr val="00206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осстановительное лечение</a:t>
                      </a:r>
                    </a:p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 в </a:t>
                      </a:r>
                      <a:r>
                        <a:rPr lang="ru-RU" sz="1200" b="1" u="sng" dirty="0" smtClean="0">
                          <a:latin typeface="Times New Roman" pitchFamily="18" charset="0"/>
                          <a:cs typeface="Times New Roman" pitchFamily="18" charset="0"/>
                        </a:rPr>
                        <a:t>остром и подостром </a:t>
                      </a: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периоде </a:t>
                      </a:r>
                      <a:endParaRPr lang="kk-KZ" sz="1200" b="1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kk-KZ" sz="1200" b="1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171450" indent="-171450" algn="l">
                        <a:buFont typeface="Wingdings" pitchFamily="2" charset="2"/>
                        <a:buChar char="q"/>
                      </a:pPr>
                      <a:r>
                        <a:rPr lang="kk-KZ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руглосуточные стационары</a:t>
                      </a:r>
                    </a:p>
                    <a:p>
                      <a:pPr marL="0" indent="0" algn="l">
                        <a:buFont typeface="Wingdings" pitchFamily="2" charset="2"/>
                        <a:buNone/>
                      </a:pPr>
                      <a:endParaRPr lang="kk-KZ" sz="1200" b="1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0" indent="0" algn="l">
                        <a:buFont typeface="Wingdings" pitchFamily="2" charset="2"/>
                        <a:buNone/>
                      </a:pPr>
                      <a:r>
                        <a:rPr lang="kk-KZ" sz="12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нний восстановительный период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q"/>
                        <a:tabLst/>
                        <a:defRPr/>
                      </a:pPr>
                      <a:r>
                        <a:rPr lang="kk-KZ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КС (реабилитационные койки/отделения)</a:t>
                      </a:r>
                    </a:p>
                    <a:p>
                      <a:pPr marL="171450" indent="-171450" algn="l">
                        <a:buFont typeface="Wingdings" pitchFamily="2" charset="2"/>
                        <a:buChar char="q"/>
                      </a:pPr>
                      <a:r>
                        <a:rPr lang="kk-KZ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еабилитационный центр</a:t>
                      </a:r>
                    </a:p>
                    <a:p>
                      <a:pPr marL="171450" indent="-171450">
                        <a:buFont typeface="Wingdings" pitchFamily="2" charset="2"/>
                        <a:buChar char="q"/>
                      </a:pPr>
                      <a:r>
                        <a:rPr lang="kk-KZ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Дневной стационар</a:t>
                      </a:r>
                    </a:p>
                    <a:p>
                      <a:pPr marL="171450" indent="-171450">
                        <a:buFont typeface="Wingdings" pitchFamily="2" charset="2"/>
                        <a:buChar char="q"/>
                      </a:pPr>
                      <a:endParaRPr lang="ru-RU" sz="1200" dirty="0" smtClean="0"/>
                    </a:p>
                    <a:p>
                      <a:r>
                        <a:rPr lang="kk-KZ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Медицинская реабилитация </a:t>
                      </a:r>
                    </a:p>
                    <a:p>
                      <a:pPr marL="171450" indent="-171450">
                        <a:buFont typeface="Wingdings" pitchFamily="2" charset="2"/>
                        <a:buChar char="q"/>
                      </a:pPr>
                      <a:r>
                        <a:rPr lang="kk-KZ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Круглосуточный стационар</a:t>
                      </a:r>
                    </a:p>
                    <a:p>
                      <a:pPr marL="171450" indent="-171450">
                        <a:buFont typeface="Wingdings" pitchFamily="2" charset="2"/>
                        <a:buChar char="q"/>
                      </a:pPr>
                      <a:r>
                        <a:rPr lang="kk-KZ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Дневной стационар</a:t>
                      </a:r>
                    </a:p>
                    <a:p>
                      <a:pPr marL="171450" indent="-171450">
                        <a:buFont typeface="Wingdings" pitchFamily="2" charset="2"/>
                        <a:buChar char="q"/>
                      </a:pPr>
                      <a:r>
                        <a:rPr lang="kk-KZ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Стационар на дому</a:t>
                      </a:r>
                    </a:p>
                    <a:p>
                      <a:pPr marL="171450" indent="-171450">
                        <a:buFont typeface="Wingdings" pitchFamily="2" charset="2"/>
                        <a:buChar char="q"/>
                      </a:pPr>
                      <a:r>
                        <a:rPr lang="kk-KZ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АПП</a:t>
                      </a: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01468035"/>
              </p:ext>
            </p:extLst>
          </p:nvPr>
        </p:nvGraphicFramePr>
        <p:xfrm>
          <a:off x="102369" y="4078609"/>
          <a:ext cx="5078944" cy="1348740"/>
        </p:xfrm>
        <a:graphic>
          <a:graphicData uri="http://schemas.openxmlformats.org/drawingml/2006/table">
            <a:tbl>
              <a:tblPr/>
              <a:tblGrid>
                <a:gridCol w="5078944"/>
              </a:tblGrid>
              <a:tr h="102885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kk-KZ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Текущая редакция</a:t>
                      </a:r>
                    </a:p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kk-KZ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6 направлений реабилитации:</a:t>
                      </a:r>
                      <a:endParaRPr lang="kk-KZ" sz="1100" b="0" i="1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171450" indent="-171450" algn="ctr">
                        <a:lnSpc>
                          <a:spcPct val="150000"/>
                        </a:lnSpc>
                        <a:buFont typeface="Wingdings" pitchFamily="2" charset="2"/>
                        <a:buChar char="§"/>
                      </a:pPr>
                      <a:r>
                        <a:rPr lang="kk-KZ" sz="11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Кардиология/Кардиохирургия</a:t>
                      </a:r>
                    </a:p>
                    <a:p>
                      <a:pPr marL="171450" indent="-171450" algn="ctr">
                        <a:lnSpc>
                          <a:spcPct val="150000"/>
                        </a:lnSpc>
                        <a:buFont typeface="Wingdings" pitchFamily="2" charset="2"/>
                        <a:buChar char="§"/>
                      </a:pPr>
                      <a:r>
                        <a:rPr lang="kk-KZ" sz="11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Неврология/Нейрохирургия</a:t>
                      </a:r>
                    </a:p>
                    <a:p>
                      <a:pPr marL="171450" indent="-171450" algn="ctr">
                        <a:lnSpc>
                          <a:spcPct val="150000"/>
                        </a:lnSpc>
                        <a:buFont typeface="Wingdings" pitchFamily="2" charset="2"/>
                        <a:buChar char="§"/>
                      </a:pPr>
                      <a:r>
                        <a:rPr lang="kk-KZ" sz="11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Травматология/Ортопедия</a:t>
                      </a:r>
                      <a:endParaRPr lang="ru-RU" sz="1100" b="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59859694"/>
              </p:ext>
            </p:extLst>
          </p:nvPr>
        </p:nvGraphicFramePr>
        <p:xfrm>
          <a:off x="5239601" y="4077727"/>
          <a:ext cx="6762929" cy="1318057"/>
        </p:xfrm>
        <a:graphic>
          <a:graphicData uri="http://schemas.openxmlformats.org/drawingml/2006/table">
            <a:tbl>
              <a:tblPr/>
              <a:tblGrid>
                <a:gridCol w="6762929"/>
              </a:tblGrid>
              <a:tr h="1318057">
                <a:tc>
                  <a:txBody>
                    <a:bodyPr/>
                    <a:lstStyle/>
                    <a:p>
                      <a:pPr algn="ctr"/>
                      <a:r>
                        <a:rPr lang="kk-KZ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полнительно+к 6 направлениям:</a:t>
                      </a:r>
                    </a:p>
                    <a:p>
                      <a:pPr algn="ctr"/>
                      <a:endParaRPr lang="kk-KZ" dirty="0" smtClean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14" name="Стрелка влево 13"/>
          <p:cNvSpPr/>
          <p:nvPr/>
        </p:nvSpPr>
        <p:spPr>
          <a:xfrm>
            <a:off x="3661061" y="1541953"/>
            <a:ext cx="288032" cy="332862"/>
          </a:xfrm>
          <a:prstGeom prst="leftArrow">
            <a:avLst>
              <a:gd name="adj1" fmla="val 50000"/>
              <a:gd name="adj2" fmla="val 43953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023732" y="1497787"/>
            <a:ext cx="9488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БМП</a:t>
            </a:r>
          </a:p>
          <a:p>
            <a:pPr algn="ctr"/>
            <a:r>
              <a:rPr lang="kk-KZ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плата по КЗГ</a:t>
            </a:r>
            <a:endParaRPr lang="ru-RU" sz="1200" i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трелка влево 15"/>
          <p:cNvSpPr/>
          <p:nvPr/>
        </p:nvSpPr>
        <p:spPr>
          <a:xfrm>
            <a:off x="3684686" y="2580373"/>
            <a:ext cx="288032" cy="288032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684686" y="2480434"/>
            <a:ext cx="14966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kk-KZ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БМП</a:t>
            </a:r>
          </a:p>
          <a:p>
            <a:pPr algn="ctr"/>
            <a:r>
              <a:rPr lang="kk-KZ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плата за </a:t>
            </a:r>
          </a:p>
          <a:p>
            <a:pPr algn="ctr"/>
            <a:r>
              <a:rPr lang="kk-KZ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леченный случай</a:t>
            </a:r>
            <a:endParaRPr lang="ru-RU" sz="1200" i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трелка влево 17"/>
          <p:cNvSpPr/>
          <p:nvPr/>
        </p:nvSpPr>
        <p:spPr>
          <a:xfrm rot="10800000">
            <a:off x="7783447" y="1314843"/>
            <a:ext cx="288032" cy="288032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203587" y="1124216"/>
            <a:ext cx="24147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1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абилитация проводится</a:t>
            </a:r>
          </a:p>
          <a:p>
            <a:r>
              <a:rPr lang="kk-KZ" sz="11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по коду основного заболевания,</a:t>
            </a:r>
          </a:p>
          <a:p>
            <a:r>
              <a:rPr lang="kk-KZ" sz="11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служившего причиной госпитализации </a:t>
            </a:r>
          </a:p>
        </p:txBody>
      </p:sp>
      <p:sp>
        <p:nvSpPr>
          <p:cNvPr id="20" name="Стрелка влево 19"/>
          <p:cNvSpPr/>
          <p:nvPr/>
        </p:nvSpPr>
        <p:spPr>
          <a:xfrm rot="10800000">
            <a:off x="7734986" y="2420491"/>
            <a:ext cx="288032" cy="288032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203587" y="1963905"/>
            <a:ext cx="244244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kk-KZ" sz="11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атегории оказания медицинской </a:t>
            </a:r>
          </a:p>
          <a:p>
            <a:pPr algn="just"/>
            <a:r>
              <a:rPr lang="kk-KZ" sz="11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абилитации:</a:t>
            </a:r>
            <a:endParaRPr lang="ru-RU" sz="1100" i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228600" indent="-228600">
              <a:buFont typeface="Wingdings" pitchFamily="2" charset="2"/>
              <a:buChar char="§"/>
            </a:pPr>
            <a:r>
              <a:rPr lang="kk-KZ" sz="11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зрослые,</a:t>
            </a:r>
          </a:p>
          <a:p>
            <a:pPr marL="228600" indent="-228600">
              <a:buFont typeface="Wingdings" pitchFamily="2" charset="2"/>
              <a:buChar char="§"/>
            </a:pPr>
            <a:r>
              <a:rPr lang="kk-KZ" sz="11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ети-на региональном уровне,</a:t>
            </a:r>
          </a:p>
          <a:p>
            <a:pPr marL="228600" indent="-228600">
              <a:buFont typeface="Wingdings" pitchFamily="2" charset="2"/>
              <a:buChar char="§"/>
            </a:pPr>
            <a:r>
              <a:rPr lang="kk-KZ" sz="11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ети-в центрах реабилитации </a:t>
            </a:r>
          </a:p>
        </p:txBody>
      </p:sp>
      <p:sp>
        <p:nvSpPr>
          <p:cNvPr id="22" name="Стрелка влево 21"/>
          <p:cNvSpPr/>
          <p:nvPr/>
        </p:nvSpPr>
        <p:spPr>
          <a:xfrm>
            <a:off x="10312474" y="1287380"/>
            <a:ext cx="288032" cy="346117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576690" y="1287380"/>
            <a:ext cx="13376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БМП/ОСМС</a:t>
            </a:r>
            <a:endParaRPr lang="kk-KZ" sz="1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Стрелка влево 23"/>
          <p:cNvSpPr/>
          <p:nvPr/>
        </p:nvSpPr>
        <p:spPr>
          <a:xfrm>
            <a:off x="10369906" y="2420491"/>
            <a:ext cx="288032" cy="288032"/>
          </a:xfrm>
          <a:prstGeom prst="lef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000042" y="3773649"/>
            <a:ext cx="56589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526" fontAlgn="base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/>
            </a:pPr>
            <a:r>
              <a:rPr lang="ru-RU" sz="1600" b="1" kern="0" dirty="0">
                <a:solidFill>
                  <a:srgbClr val="C00000"/>
                </a:solidFill>
                <a:latin typeface="Arial"/>
                <a:ea typeface="+mj-ea"/>
                <a:cs typeface="+mj-cs"/>
              </a:rPr>
              <a:t>Категории для оказания медицинской реабилитации: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576690" y="2063805"/>
            <a:ext cx="13957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БМП</a:t>
            </a:r>
          </a:p>
          <a:p>
            <a:pPr algn="ctr"/>
            <a:r>
              <a:rPr lang="kk-KZ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туберкулез ) </a:t>
            </a:r>
            <a:endParaRPr lang="kk-KZ" sz="1200" i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kk-KZ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СМС </a:t>
            </a:r>
            <a:endParaRPr lang="kk-KZ" sz="1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kk-KZ" sz="12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(за искл. туберкулеза)</a:t>
            </a:r>
            <a:endParaRPr lang="ru-RU" sz="1200" i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1" y="31888"/>
            <a:ext cx="121919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3526" fontAlgn="base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/>
            </a:pPr>
            <a:r>
              <a:rPr lang="en-US" sz="2000" b="1" kern="0" dirty="0" smtClean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V. </a:t>
            </a:r>
            <a:r>
              <a:rPr lang="ru-RU" sz="2000" b="1" kern="0" dirty="0" smtClean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Совершенствование </a:t>
            </a:r>
            <a:r>
              <a:rPr lang="ru-RU" sz="2000" b="1" kern="0" dirty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Правил медицинской реабилитации и восстановительного лечения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970131" y="4053368"/>
            <a:ext cx="648397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 взрослых: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kk-KZ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рансплантация (сердце, легкие, имплантация </a:t>
            </a:r>
            <a:r>
              <a:rPr lang="en-US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LVAD</a:t>
            </a:r>
            <a:r>
              <a:rPr lang="ru-RU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kk-KZ" sz="1200" i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kk-KZ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У детей::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kk-KZ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ПР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kk-KZ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хлеарная имплантация и имплантация костной проводимости 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kk-KZ" sz="1200" i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ериод новорожденности (нарушение ЦНС)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kk-KZ" sz="1200" i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нкология и онкогематология</a:t>
            </a:r>
            <a:endParaRPr lang="ru-RU" sz="1200" i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0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75582" y="4607481"/>
            <a:ext cx="6945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е </a:t>
            </a:r>
            <a:r>
              <a:rPr lang="kk-KZ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же +</a:t>
            </a:r>
            <a:endParaRPr lang="ru-RU" sz="12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807999" y="5402770"/>
            <a:ext cx="29157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kk-KZ" sz="1400" b="1" kern="0" dirty="0">
                <a:solidFill>
                  <a:srgbClr val="C00000"/>
                </a:solidFill>
                <a:latin typeface="Arial"/>
                <a:ea typeface="+mj-ea"/>
                <a:cs typeface="+mj-cs"/>
              </a:rPr>
              <a:t>Приложения к приказу</a:t>
            </a:r>
            <a:endParaRPr lang="ru-RU" sz="1400" b="1" kern="0" dirty="0">
              <a:solidFill>
                <a:srgbClr val="C00000"/>
              </a:solidFill>
              <a:latin typeface="Arial"/>
              <a:ea typeface="+mj-ea"/>
              <a:cs typeface="+mj-cs"/>
            </a:endParaRPr>
          </a:p>
        </p:txBody>
      </p:sp>
      <p:sp>
        <p:nvSpPr>
          <p:cNvPr id="45" name="Заголовок 1">
            <a:extLst>
              <a:ext uri="{FF2B5EF4-FFF2-40B4-BE49-F238E27FC236}">
                <a16:creationId xmlns="" xmlns:a16="http://schemas.microsoft.com/office/drawing/2014/main" id="{80338F4C-979D-473D-B4B7-FF138E0EDC33}"/>
              </a:ext>
            </a:extLst>
          </p:cNvPr>
          <p:cNvSpPr txBox="1">
            <a:spLocks/>
          </p:cNvSpPr>
          <p:nvPr/>
        </p:nvSpPr>
        <p:spPr>
          <a:xfrm>
            <a:off x="131080" y="5467615"/>
            <a:ext cx="11017650" cy="443567"/>
          </a:xfrm>
          <a:prstGeom prst="rect">
            <a:avLst/>
          </a:prstGeom>
          <a:noFill/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ct val="100000"/>
              </a:lnSpc>
            </a:pPr>
            <a:endParaRPr lang="ru-RU" sz="1050" b="1" i="1" dirty="0" smtClean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</a:pPr>
            <a:endParaRPr lang="ru-RU" sz="1050" b="1" i="1" dirty="0" smtClean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</a:pPr>
            <a:r>
              <a:rPr lang="en-US" sz="1100" b="1" i="1" u="sng" dirty="0" smtClean="0">
                <a:solidFill>
                  <a:srgbClr val="C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I. </a:t>
            </a:r>
            <a:r>
              <a:rPr lang="ru-RU" sz="1100" b="1" i="1" u="sng" dirty="0" smtClean="0">
                <a:solidFill>
                  <a:srgbClr val="C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</a:t>
            </a:r>
            <a:r>
              <a:rPr lang="ru-RU" sz="1100" b="1" i="1" u="sng" dirty="0">
                <a:solidFill>
                  <a:srgbClr val="C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илота в Карагандинской области </a:t>
            </a:r>
            <a:endParaRPr lang="ru-RU" sz="1100" b="1" i="1" u="sng" dirty="0" smtClean="0">
              <a:solidFill>
                <a:srgbClr val="C0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</a:pPr>
            <a:r>
              <a:rPr lang="ru-RU" sz="1100" b="1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 перечня:</a:t>
            </a:r>
            <a:endParaRPr lang="ru-RU" sz="1100" b="1" i="1" dirty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28600" indent="-228600" algn="just">
              <a:lnSpc>
                <a:spcPct val="100000"/>
              </a:lnSpc>
              <a:buFontTx/>
              <a:buAutoNum type="arabicPeriod"/>
            </a:pP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ечень диагнозов по МКБ-10 для </a:t>
            </a:r>
            <a:r>
              <a:rPr lang="ru-RU" sz="1100" i="1" dirty="0" err="1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осстанов</a:t>
            </a: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. лечения и  мед. реабилитации в рамках ГОБМП для больных туберкулезом и перенёсших туберкулез</a:t>
            </a:r>
          </a:p>
          <a:p>
            <a:pPr marL="228600" indent="-228600" algn="just">
              <a:lnSpc>
                <a:spcPct val="100000"/>
              </a:lnSpc>
              <a:buFontTx/>
              <a:buAutoNum type="arabicPeriod"/>
            </a:pP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ечень  </a:t>
            </a:r>
            <a:r>
              <a:rPr lang="ru-RU" sz="1100" i="1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иагнозов по </a:t>
            </a: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КБ-10 и МКБ-9 для </a:t>
            </a:r>
            <a:r>
              <a:rPr lang="ru-RU" sz="1100" i="1" dirty="0" err="1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осстанов</a:t>
            </a: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. лечения и мед. реабилитации в </a:t>
            </a:r>
            <a:r>
              <a:rPr lang="ru-RU" sz="1100" i="1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амках </a:t>
            </a: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СМС за исключением туберкулеза </a:t>
            </a:r>
            <a:endParaRPr lang="ru-RU" sz="1100" i="1" dirty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28600" indent="-228600" algn="just">
              <a:lnSpc>
                <a:spcPct val="100000"/>
              </a:lnSpc>
              <a:buFontTx/>
              <a:buAutoNum type="arabicPeriod"/>
            </a:pPr>
            <a:endParaRPr lang="ru-RU" sz="1050" i="1" dirty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6" name="Заголовок 1">
            <a:extLst>
              <a:ext uri="{FF2B5EF4-FFF2-40B4-BE49-F238E27FC236}">
                <a16:creationId xmlns="" xmlns:a16="http://schemas.microsoft.com/office/drawing/2014/main" id="{80338F4C-979D-473D-B4B7-FF138E0EDC33}"/>
              </a:ext>
            </a:extLst>
          </p:cNvPr>
          <p:cNvSpPr txBox="1">
            <a:spLocks/>
          </p:cNvSpPr>
          <p:nvPr/>
        </p:nvSpPr>
        <p:spPr>
          <a:xfrm>
            <a:off x="131080" y="6175047"/>
            <a:ext cx="10005276" cy="418013"/>
          </a:xfrm>
          <a:prstGeom prst="rect">
            <a:avLst/>
          </a:prstGeom>
          <a:noFill/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ru-RU" sz="1000" b="1" i="1" dirty="0" smtClean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just"/>
            <a:endParaRPr lang="ru-RU" sz="1000" b="1" i="1" dirty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en-US" sz="1100" b="1" i="1" u="sng" dirty="0" smtClean="0">
                <a:solidFill>
                  <a:srgbClr val="C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II. </a:t>
            </a:r>
            <a:r>
              <a:rPr lang="ru-RU" sz="1100" b="1" i="1" u="sng" dirty="0" smtClean="0">
                <a:solidFill>
                  <a:srgbClr val="C0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всей страны</a:t>
            </a:r>
          </a:p>
          <a:p>
            <a:pPr algn="just" defTabSz="457200">
              <a:lnSpc>
                <a:spcPct val="100000"/>
              </a:lnSpc>
              <a:spcBef>
                <a:spcPts val="0"/>
              </a:spcBef>
            </a:pPr>
            <a:r>
              <a:rPr lang="ru-RU" sz="1100" b="1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2 </a:t>
            </a:r>
            <a:r>
              <a:rPr lang="ru-RU" sz="1100" b="1" i="1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ечня</a:t>
            </a:r>
            <a:r>
              <a:rPr lang="ru-RU" sz="1100" b="1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:</a:t>
            </a:r>
          </a:p>
          <a:p>
            <a:pPr marL="228600" indent="-228600" algn="just" defTabSz="457200">
              <a:lnSpc>
                <a:spcPct val="100000"/>
              </a:lnSpc>
              <a:spcBef>
                <a:spcPts val="0"/>
              </a:spcBef>
              <a:buFontTx/>
              <a:buAutoNum type="arabicPeriod"/>
            </a:pP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ечень </a:t>
            </a:r>
            <a:r>
              <a:rPr lang="ru-RU" sz="1100" i="1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иагнозов по МКБ-10 </a:t>
            </a: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</a:t>
            </a:r>
            <a:r>
              <a:rPr lang="ru-RU" sz="1100" i="1" dirty="0" err="1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осстанов</a:t>
            </a: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. лечения и мед. реабилитации в </a:t>
            </a:r>
            <a:r>
              <a:rPr lang="ru-RU" sz="1100" i="1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амках </a:t>
            </a: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ОБМП для больных туберкулезом и перенесших туберкулез</a:t>
            </a:r>
            <a:endParaRPr lang="ru-RU" sz="1100" i="1" dirty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28600" indent="-228600" algn="just" defTabSz="457200">
              <a:lnSpc>
                <a:spcPct val="100000"/>
              </a:lnSpc>
              <a:spcBef>
                <a:spcPts val="0"/>
              </a:spcBef>
              <a:buFontTx/>
              <a:buAutoNum type="arabicPeriod"/>
            </a:pPr>
            <a:r>
              <a:rPr lang="ru-RU" sz="1100" i="1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еречень  диагнозов по МКБ-10 и МКБ-9 для </a:t>
            </a:r>
            <a:r>
              <a:rPr lang="ru-RU" sz="1100" i="1" dirty="0" err="1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осстанов</a:t>
            </a: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. лечения </a:t>
            </a:r>
            <a:r>
              <a:rPr lang="ru-RU" sz="1100" i="1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</a:t>
            </a:r>
            <a:r>
              <a:rPr lang="ru-RU" sz="1100" i="1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мед. реабилитации </a:t>
            </a:r>
            <a:r>
              <a:rPr lang="ru-RU" sz="1100" i="1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рамках ОСМС за исключением туберкулеза </a:t>
            </a:r>
          </a:p>
          <a:p>
            <a:pPr algn="just"/>
            <a:endParaRPr lang="ru-RU" sz="1000" i="1" dirty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Заголовок 1">
            <a:extLst>
              <a:ext uri="{FF2B5EF4-FFF2-40B4-BE49-F238E27FC236}">
                <a16:creationId xmlns="" xmlns:a16="http://schemas.microsoft.com/office/drawing/2014/main" id="{80338F4C-979D-473D-B4B7-FF138E0EDC33}"/>
              </a:ext>
            </a:extLst>
          </p:cNvPr>
          <p:cNvSpPr txBox="1">
            <a:spLocks/>
          </p:cNvSpPr>
          <p:nvPr/>
        </p:nvSpPr>
        <p:spPr>
          <a:xfrm>
            <a:off x="9094803" y="5670768"/>
            <a:ext cx="1219199" cy="418013"/>
          </a:xfrm>
          <a:prstGeom prst="rect">
            <a:avLst/>
          </a:prstGeom>
          <a:noFill/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1100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роки исполнения: 1 сентября 2019 </a:t>
            </a:r>
            <a:r>
              <a:rPr lang="ru-RU" sz="1100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года по </a:t>
            </a:r>
            <a:r>
              <a:rPr lang="ru-RU" sz="1100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31 декабря 2019 года</a:t>
            </a:r>
          </a:p>
          <a:p>
            <a:pPr algn="just"/>
            <a:r>
              <a:rPr lang="ru-RU" sz="975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endParaRPr lang="ru-RU" sz="975" dirty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9" name="Заголовок 1">
            <a:extLst>
              <a:ext uri="{FF2B5EF4-FFF2-40B4-BE49-F238E27FC236}">
                <a16:creationId xmlns="" xmlns:a16="http://schemas.microsoft.com/office/drawing/2014/main" id="{80338F4C-979D-473D-B4B7-FF138E0EDC33}"/>
              </a:ext>
            </a:extLst>
          </p:cNvPr>
          <p:cNvSpPr txBox="1">
            <a:spLocks/>
          </p:cNvSpPr>
          <p:nvPr/>
        </p:nvSpPr>
        <p:spPr>
          <a:xfrm>
            <a:off x="9114014" y="6329917"/>
            <a:ext cx="1219200" cy="418013"/>
          </a:xfrm>
          <a:prstGeom prst="rect">
            <a:avLst/>
          </a:prstGeom>
          <a:noFill/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1100" dirty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роки исполнения: </a:t>
            </a:r>
            <a:r>
              <a:rPr lang="ru-RU" sz="1100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1 января 2020 года</a:t>
            </a:r>
            <a:endParaRPr lang="ru-RU" sz="1100" dirty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just"/>
            <a:r>
              <a:rPr lang="ru-RU" sz="975" dirty="0" smtClean="0">
                <a:solidFill>
                  <a:srgbClr val="4472C4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endParaRPr lang="ru-RU" sz="975" dirty="0">
              <a:solidFill>
                <a:srgbClr val="4472C4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1" name="Стрелка вправо 50"/>
          <p:cNvSpPr/>
          <p:nvPr/>
        </p:nvSpPr>
        <p:spPr>
          <a:xfrm>
            <a:off x="8724715" y="6316539"/>
            <a:ext cx="284600" cy="249612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33" name="Стрелка вправо 32"/>
          <p:cNvSpPr/>
          <p:nvPr/>
        </p:nvSpPr>
        <p:spPr>
          <a:xfrm>
            <a:off x="8727051" y="5731310"/>
            <a:ext cx="282264" cy="249612"/>
          </a:xfrm>
          <a:prstGeom prst="rightArrow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36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kk-KZ" sz="1800" dirty="0" smtClean="0"/>
              <a:t>1</a:t>
            </a:r>
            <a:r>
              <a:rPr lang="kk-KZ" sz="1800" dirty="0"/>
              <a:t>2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xmlns="" val="3704172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-1" y="0"/>
            <a:ext cx="12192000" cy="457200"/>
          </a:xfrm>
          <a:prstGeom prst="rect">
            <a:avLst/>
          </a:prstGeom>
          <a:solidFill>
            <a:srgbClr val="C9F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199" tIns="36199" rIns="36199" bIns="36199" rtlCol="0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65B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defTabSz="900255">
              <a:tabLst>
                <a:tab pos="271358" algn="l"/>
              </a:tabLst>
            </a:pPr>
            <a:endParaRPr lang="ru-RU" altLang="ru-RU" sz="2000" b="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449" y="620256"/>
            <a:ext cx="11255099" cy="646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а здравоохранения и социального развития Республики Казахстан от 28 апреля 2015 года </a:t>
            </a: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281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ии Правил оказания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ичной медико-санитарной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равил прикрепления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к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м первичной медико-санитарной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и»</a:t>
            </a: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а здравоохранения и социального развития Республики Казахстан от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июля 2015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а </a:t>
            </a: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626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утверждении Правил оказания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тивно-диагностической помощи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а здравоохранения и социального развития Республики Казахстан от 17 августа 2015 года </a:t>
            </a: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669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 утверждении Правил оказания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озамещающей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мощ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а здравоохранения и социального развития Республики Казахстан от 29 сентября 2015 года </a:t>
            </a: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761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 утверждении Правил оказания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ной помощ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а здравоохранения и социального развития Республики Казахстан от 27 февраля 2015 года </a:t>
            </a: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98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 утверждении Правил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становительного лечения и медицинской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билитации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а здравоохранения Республики Казахстан от 27 декабря 2013 года </a:t>
            </a:r>
            <a:r>
              <a:rPr lang="ru-RU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759 </a:t>
            </a:r>
            <a:r>
              <a:rPr lang="ru-RU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утверждении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а организации оказания медицинской реабилитации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елению Республики Казахстан»</a:t>
            </a: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ru-RU" dirty="0">
              <a:solidFill>
                <a:prstClr val="black"/>
              </a:solidFill>
            </a:endParaRPr>
          </a:p>
          <a:p>
            <a:pPr marL="342900" indent="-342900" algn="just" eaLnBrk="0" fontAlgn="base" hangingPunct="0"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358775" algn="just" eaLnBrk="0" fontAlgn="base" hangingPunct="0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/>
            </a:pPr>
            <a:endParaRPr lang="ru-RU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057348" y="27345"/>
            <a:ext cx="81026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271358" algn="l"/>
              </a:tabLst>
              <a:defRPr/>
            </a:pPr>
            <a:r>
              <a:rPr lang="ru-RU" alt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еречень НПА</a:t>
            </a:r>
            <a:endParaRPr lang="ru-RU" altLang="ru-RU" sz="24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800" dirty="0"/>
              <a:t>2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xmlns="" val="2047283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/>
          <p:cNvGrpSpPr/>
          <p:nvPr/>
        </p:nvGrpSpPr>
        <p:grpSpPr>
          <a:xfrm>
            <a:off x="1632137" y="673313"/>
            <a:ext cx="9143461" cy="527360"/>
            <a:chOff x="0" y="1348879"/>
            <a:chExt cx="8961438" cy="568548"/>
          </a:xfrm>
        </p:grpSpPr>
        <p:sp>
          <p:nvSpPr>
            <p:cNvPr id="31" name="Rectangle 136"/>
            <p:cNvSpPr>
              <a:spLocks noChangeArrowheads="1"/>
            </p:cNvSpPr>
            <p:nvPr/>
          </p:nvSpPr>
          <p:spPr bwMode="auto">
            <a:xfrm>
              <a:off x="0" y="1348879"/>
              <a:ext cx="8961438" cy="568548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122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0" y="1348879"/>
              <a:ext cx="8961438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Заголовок 1"/>
          <p:cNvSpPr txBox="1">
            <a:spLocks/>
          </p:cNvSpPr>
          <p:nvPr/>
        </p:nvSpPr>
        <p:spPr>
          <a:xfrm>
            <a:off x="-1" y="51079"/>
            <a:ext cx="12192000" cy="457200"/>
          </a:xfrm>
          <a:prstGeom prst="rect">
            <a:avLst/>
          </a:prstGeom>
          <a:solidFill>
            <a:srgbClr val="C9F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199" tIns="36199" rIns="36199" bIns="36199" rtlCol="0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65B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defTabSz="900255">
              <a:tabLst>
                <a:tab pos="271358" algn="l"/>
              </a:tabLst>
            </a:pPr>
            <a:endParaRPr lang="ru-RU" altLang="ru-RU" sz="2000" b="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8166" y="48847"/>
            <a:ext cx="118956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 algn="ctr">
              <a:buFont typeface="+mj-lt"/>
              <a:buAutoNum type="romanUcPeriod"/>
            </a:pPr>
            <a:r>
              <a:rPr lang="kk-KZ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Правил оказания ПМСП</a:t>
            </a: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7732" y="772236"/>
            <a:ext cx="11052272" cy="76636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се услуги на уровне ПМСП оказываются в рамках ГОБМП</a:t>
            </a:r>
          </a:p>
          <a:p>
            <a:pPr algn="ctr"/>
            <a:endParaRPr 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0" indent="-400050">
              <a:buFont typeface="+mj-lt"/>
              <a:buAutoNum type="romanUcPeriod"/>
            </a:pPr>
            <a:r>
              <a:rPr lang="kk-KZ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ированы:</a:t>
            </a:r>
            <a:endParaRPr lang="kk-KZ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kk-KZ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поводов обращения в организации ПМСП,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асти формирования 6 групп поводов 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Aft>
                <a:spcPts val="60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kk-KZ" sz="1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болевания                                 </a:t>
            </a:r>
            <a:r>
              <a:rPr lang="kk-KZ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ческое (диспансерное) наблюдение</a:t>
            </a:r>
          </a:p>
          <a:p>
            <a:pPr lvl="0">
              <a:spcAft>
                <a:spcPts val="600"/>
              </a:spcAft>
            </a:pPr>
            <a:r>
              <a:rPr lang="kk-KZ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Травма                                           Медико-социальные услуги</a:t>
            </a:r>
          </a:p>
          <a:p>
            <a:pPr lvl="0">
              <a:spcAft>
                <a:spcPts val="600"/>
              </a:spcAft>
            </a:pPr>
            <a:r>
              <a:rPr lang="kk-KZ" sz="1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Профилактика                              Административный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медицинских услуг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азываемых СМР ПМСП</a:t>
            </a:r>
            <a:r>
              <a:rPr lang="kk-KZ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асти группирования услуг по поводам </a:t>
            </a:r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21 услуг)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медицинских услуг, оказываемых врачами ПМСП,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асти группирования услуг по поводам </a:t>
            </a:r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5 услуг)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медицинских услуг социального работника и психолог,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асти группирования услуг по поводам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 услуг</a:t>
            </a:r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0">
              <a:spcAft>
                <a:spcPts val="600"/>
              </a:spcAft>
            </a:pPr>
            <a:endParaRPr lang="ru-R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I. </a:t>
            </a:r>
            <a:r>
              <a:rPr lang="kk-KZ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пределено</a:t>
            </a:r>
            <a:r>
              <a:rPr lang="kk-KZ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репленного населения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</a:p>
          <a:p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ного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700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человек, 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кового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апевта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200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человек, 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кового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диатра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детей от 0 до 6 лет, </a:t>
            </a:r>
            <a:r>
              <a: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0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детей от 0 до 14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II. </a:t>
            </a:r>
            <a:r>
              <a:rPr lang="kk-KZ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ключены </a:t>
            </a:r>
            <a:r>
              <a:rPr lang="kk-KZ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 оказания ПМСП: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k-K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МК, консультативно-диагностические поезда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k-KZ" sz="140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kk-K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бразовательные организации;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kk-K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истанционно 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V. </a:t>
            </a:r>
            <a:r>
              <a:rPr lang="kk-KZ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ключены услуги </a:t>
            </a:r>
            <a:r>
              <a:rPr lang="kk-KZ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ного кабинета, оказываемые в организациях ПМСП</a:t>
            </a:r>
            <a:endParaRPr lang="en-US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kk-KZ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kk-KZ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2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ru-RU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800" dirty="0" smtClean="0"/>
              <a:t>3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xmlns="" val="1401680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50279567"/>
              </p:ext>
            </p:extLst>
          </p:nvPr>
        </p:nvGraphicFramePr>
        <p:xfrm>
          <a:off x="599136" y="720673"/>
          <a:ext cx="11131546" cy="6005506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08557"/>
                <a:gridCol w="2615037"/>
                <a:gridCol w="8007952"/>
              </a:tblGrid>
              <a:tr h="4887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</a:t>
                      </a: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/п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уппа поводов обращения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поводов обращения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 anchor="ctr"/>
                </a:tc>
              </a:tr>
              <a:tr h="258495">
                <a:tc row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 rowSpan="6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болевание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трое заболевание (состояние)/ Обострение хронического заболевания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1723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озрение на социально-значимое заболевание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17233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ультирование дистанционное по поводу заболевания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430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ив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129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дицинская реабилитация (3 этап)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861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матологическая помощь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129248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вма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трая травма (</a:t>
                      </a:r>
                      <a:r>
                        <a:rPr lang="ru-R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вмпункт</a:t>
                      </a: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АПО)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861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ледствия травмы (АПО)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172330">
                <a:tc rowSpan="1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 rowSpan="1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филактика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щение с профилактической целью (кроме скрининга)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861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ммунопрофилактик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861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рининг (</a:t>
                      </a:r>
                      <a:r>
                        <a:rPr lang="ru-R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фосмотр</a:t>
                      </a: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430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тронаж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4308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уги по вопросам планирования семьи, безопасного прерывания беременности, охране репродуктивного здоровья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129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ем при антенатальном наблюдении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129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ем при постнатальном наблюдении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21541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уги по охране здоровья обучающихся (школьная медицина)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129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я по здоровому образу жизни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861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тные медосмотры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861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матологические услуги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2434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намическое (диспансерное) наблюдение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намическое наблюдение с хроническими заболеваниями (в том числе ПУЗ)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129248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дико-социальные услуги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дико-социальная поддержк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258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сихологическая поддержка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86165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министративный</a:t>
                      </a:r>
                      <a:endParaRPr lang="ru-RU" sz="12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министративный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21541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формление документов на медико-социальную экспертизу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  <a:tr h="613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иска рецептов</a:t>
                      </a:r>
                      <a:endParaRPr lang="ru-R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16858" marR="16858" marT="0" marB="0"/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389400" y="155145"/>
            <a:ext cx="68365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sz="2000" b="1" dirty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еречень поводов обращения в организации ПМСП</a:t>
            </a:r>
          </a:p>
        </p:txBody>
      </p:sp>
      <p:sp>
        <p:nvSpPr>
          <p:cNvPr id="8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800" dirty="0"/>
              <a:t>4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xmlns="" val="1424641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1"/>
          <p:cNvSpPr txBox="1">
            <a:spLocks/>
          </p:cNvSpPr>
          <p:nvPr/>
        </p:nvSpPr>
        <p:spPr>
          <a:xfrm>
            <a:off x="-1" y="0"/>
            <a:ext cx="12192000" cy="457200"/>
          </a:xfrm>
          <a:prstGeom prst="rect">
            <a:avLst/>
          </a:prstGeom>
          <a:solidFill>
            <a:srgbClr val="C9F0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199" tIns="36199" rIns="36199" bIns="36199" rtlCol="0" anchor="ctr" anchorCtr="0">
            <a:noAutofit/>
          </a:bodyPr>
          <a:lstStyle>
            <a:defPPr>
              <a:defRPr lang="ru-RU"/>
            </a:defPPr>
            <a:lvl1pPr fontAlgn="base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65BD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 defTabSz="900255">
              <a:tabLst>
                <a:tab pos="271358" algn="l"/>
              </a:tabLst>
            </a:pPr>
            <a:endParaRPr lang="ru-RU" altLang="ru-RU" sz="2000" b="0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33" name="Rectangle 22"/>
          <p:cNvSpPr>
            <a:spLocks/>
          </p:cNvSpPr>
          <p:nvPr/>
        </p:nvSpPr>
        <p:spPr>
          <a:xfrm>
            <a:off x="4945743" y="2362265"/>
            <a:ext cx="6794228" cy="433023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 w="9525">
            <a:noFill/>
          </a:ln>
          <a:effectLst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4535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endParaRPr lang="en-GB" sz="1428" b="1" dirty="0">
              <a:solidFill>
                <a:srgbClr val="002960"/>
              </a:solidFill>
            </a:endParaRPr>
          </a:p>
        </p:txBody>
      </p:sp>
      <p:graphicFrame>
        <p:nvGraphicFramePr>
          <p:cNvPr id="295997" name="AutoShape 61" hidden="1"/>
          <p:cNvGraphicFramePr>
            <a:graphicFrameLocks/>
          </p:cNvGraphicFramePr>
          <p:nvPr>
            <p:extLst/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p:oleObj spid="_x0000_s7342" name="think-cell Slide" r:id="rId6" imgW="0" imgH="0" progId="">
              <p:embed/>
            </p:oleObj>
          </a:graphicData>
        </a:graphic>
      </p:graphicFrame>
      <p:grpSp>
        <p:nvGrpSpPr>
          <p:cNvPr id="30" name="Group 29"/>
          <p:cNvGrpSpPr/>
          <p:nvPr/>
        </p:nvGrpSpPr>
        <p:grpSpPr>
          <a:xfrm>
            <a:off x="1567129" y="541811"/>
            <a:ext cx="9143461" cy="527360"/>
            <a:chOff x="0" y="1348879"/>
            <a:chExt cx="8961438" cy="568548"/>
          </a:xfrm>
        </p:grpSpPr>
        <p:sp>
          <p:nvSpPr>
            <p:cNvPr id="31" name="Rectangle 136"/>
            <p:cNvSpPr>
              <a:spLocks noChangeArrowheads="1"/>
            </p:cNvSpPr>
            <p:nvPr/>
          </p:nvSpPr>
          <p:spPr bwMode="auto">
            <a:xfrm>
              <a:off x="0" y="1348879"/>
              <a:ext cx="8961438" cy="568548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122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0" y="1348879"/>
              <a:ext cx="8961438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5998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432327" y="31479"/>
            <a:ext cx="11413066" cy="369332"/>
          </a:xfr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 dirty="0" smtClean="0"/>
              <a:t>II. </a:t>
            </a:r>
            <a:r>
              <a:rPr lang="ru-RU" sz="2400" b="1" dirty="0" smtClean="0"/>
              <a:t>Совершенствование Правил </a:t>
            </a:r>
            <a:r>
              <a:rPr lang="ru-RU" sz="2400" b="1" dirty="0"/>
              <a:t>оказания </a:t>
            </a:r>
            <a:r>
              <a:rPr lang="ru-RU" sz="2400" b="1" dirty="0" smtClean="0"/>
              <a:t>КДП</a:t>
            </a:r>
            <a:endParaRPr lang="ru-RU" sz="2400" b="1" dirty="0"/>
          </a:p>
        </p:txBody>
      </p:sp>
      <p:sp>
        <p:nvSpPr>
          <p:cNvPr id="77" name="Прямоугольник 76"/>
          <p:cNvSpPr/>
          <p:nvPr/>
        </p:nvSpPr>
        <p:spPr>
          <a:xfrm>
            <a:off x="122757" y="1214918"/>
            <a:ext cx="489711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sz="1600" b="1" u="sng" dirty="0">
                <a:solidFill>
                  <a:prstClr val="black"/>
                </a:solidFill>
                <a:cs typeface="Arial" panose="020B0604020202020204" pitchFamily="34" charset="0"/>
              </a:rPr>
              <a:t>Перечень медицинских услуг, оказываемых на уровне КДП в комплексном </a:t>
            </a:r>
            <a:r>
              <a:rPr lang="ru-RU" sz="1600" b="1" u="sng" dirty="0" err="1">
                <a:solidFill>
                  <a:prstClr val="black"/>
                </a:solidFill>
                <a:cs typeface="Arial" panose="020B0604020202020204" pitchFamily="34" charset="0"/>
              </a:rPr>
              <a:t>подушевом</a:t>
            </a:r>
            <a:r>
              <a:rPr lang="ru-RU" sz="1600" b="1" u="sng" dirty="0">
                <a:solidFill>
                  <a:prstClr val="black"/>
                </a:solidFill>
                <a:cs typeface="Arial" panose="020B0604020202020204" pitchFamily="34" charset="0"/>
              </a:rPr>
              <a:t> нормативе </a:t>
            </a:r>
            <a:r>
              <a:rPr lang="ru-RU" sz="1600" b="1" u="sng" dirty="0" smtClean="0">
                <a:solidFill>
                  <a:srgbClr val="002060"/>
                </a:solidFill>
                <a:cs typeface="Arial" panose="020B0604020202020204" pitchFamily="34" charset="0"/>
              </a:rPr>
              <a:t>в </a:t>
            </a:r>
            <a:r>
              <a:rPr lang="ru-RU" sz="1600" b="1" u="sng" dirty="0">
                <a:solidFill>
                  <a:srgbClr val="002060"/>
                </a:solidFill>
                <a:cs typeface="Arial" panose="020B0604020202020204" pitchFamily="34" charset="0"/>
              </a:rPr>
              <a:t>рамках ГОБМП </a:t>
            </a:r>
            <a:endParaRPr lang="ru-RU" sz="1600" b="1" u="sng" dirty="0" smtClean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dirty="0" smtClean="0">
                <a:solidFill>
                  <a:srgbClr val="002060"/>
                </a:solidFill>
                <a:cs typeface="Arial" panose="020B0604020202020204" pitchFamily="34" charset="0"/>
              </a:rPr>
              <a:t>(</a:t>
            </a:r>
            <a:r>
              <a:rPr lang="ru-RU" b="1" dirty="0" smtClean="0">
                <a:cs typeface="Arial" panose="020B0604020202020204" pitchFamily="34" charset="0"/>
              </a:rPr>
              <a:t>506</a:t>
            </a:r>
            <a:r>
              <a:rPr lang="ru-RU" dirty="0" smtClean="0">
                <a:solidFill>
                  <a:srgbClr val="002060"/>
                </a:solidFill>
                <a:cs typeface="Arial" panose="020B0604020202020204" pitchFamily="34" charset="0"/>
              </a:rPr>
              <a:t>          </a:t>
            </a:r>
            <a:r>
              <a:rPr lang="ru-RU" b="1" dirty="0" smtClean="0">
                <a:solidFill>
                  <a:srgbClr val="C00000"/>
                </a:solidFill>
                <a:cs typeface="Arial" panose="020B0604020202020204" pitchFamily="34" charset="0"/>
              </a:rPr>
              <a:t>178</a:t>
            </a:r>
            <a:r>
              <a:rPr lang="ru-RU" dirty="0" smtClean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cs typeface="Arial" panose="020B0604020202020204" pitchFamily="34" charset="0"/>
              </a:rPr>
              <a:t>услуг)</a:t>
            </a:r>
          </a:p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endParaRPr lang="ru-RU" sz="1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383843" y="1214918"/>
            <a:ext cx="634143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sz="1400" b="1" u="sng" dirty="0">
                <a:solidFill>
                  <a:prstClr val="black"/>
                </a:solidFill>
                <a:cs typeface="Arial" panose="020B0604020202020204" pitchFamily="34" charset="0"/>
              </a:rPr>
              <a:t>П</a:t>
            </a:r>
            <a:r>
              <a:rPr lang="ru-RU" sz="1600" b="1" u="sng" dirty="0">
                <a:solidFill>
                  <a:prstClr val="black"/>
                </a:solidFill>
                <a:cs typeface="Arial" panose="020B0604020202020204" pitchFamily="34" charset="0"/>
              </a:rPr>
              <a:t>еречень медицинских услуг, оказываемых на уровне КДП </a:t>
            </a:r>
            <a:r>
              <a:rPr lang="ru-RU" sz="1600" b="1" u="sng" dirty="0" smtClean="0">
                <a:solidFill>
                  <a:srgbClr val="002060"/>
                </a:solidFill>
                <a:cs typeface="Arial" panose="020B0604020202020204" pitchFamily="34" charset="0"/>
              </a:rPr>
              <a:t>в </a:t>
            </a:r>
            <a:r>
              <a:rPr lang="ru-RU" sz="1600" b="1" u="sng" dirty="0">
                <a:solidFill>
                  <a:srgbClr val="002060"/>
                </a:solidFill>
                <a:cs typeface="Arial" panose="020B0604020202020204" pitchFamily="34" charset="0"/>
              </a:rPr>
              <a:t>рамках ГОБМП и в системе ОСМС </a:t>
            </a:r>
            <a:r>
              <a:rPr lang="ru-RU" sz="1600" u="sng" dirty="0" smtClean="0">
                <a:solidFill>
                  <a:srgbClr val="002060"/>
                </a:solidFill>
                <a:cs typeface="Arial" panose="020B0604020202020204" pitchFamily="34" charset="0"/>
              </a:rPr>
              <a:t>в </a:t>
            </a:r>
            <a:r>
              <a:rPr lang="ru-RU" sz="1600" u="sng" dirty="0">
                <a:solidFill>
                  <a:srgbClr val="002060"/>
                </a:solidFill>
                <a:cs typeface="Arial" panose="020B0604020202020204" pitchFamily="34" charset="0"/>
              </a:rPr>
              <a:t>соответствии с поводами обращения </a:t>
            </a:r>
            <a:endParaRPr lang="ru-RU" sz="1600" u="sng" dirty="0" smtClean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sz="1600" dirty="0" smtClean="0">
                <a:solidFill>
                  <a:srgbClr val="002060"/>
                </a:solidFill>
                <a:cs typeface="Arial" panose="020B0604020202020204" pitchFamily="34" charset="0"/>
              </a:rPr>
              <a:t>(</a:t>
            </a:r>
            <a:r>
              <a:rPr lang="ru-RU" b="1" dirty="0" smtClean="0">
                <a:cs typeface="Arial" panose="020B0604020202020204" pitchFamily="34" charset="0"/>
              </a:rPr>
              <a:t>1432</a:t>
            </a:r>
            <a:r>
              <a:rPr lang="ru-RU" dirty="0" smtClean="0">
                <a:solidFill>
                  <a:srgbClr val="002060"/>
                </a:solidFill>
                <a:cs typeface="Arial" panose="020B0604020202020204" pitchFamily="34" charset="0"/>
              </a:rPr>
              <a:t>          </a:t>
            </a:r>
            <a:r>
              <a:rPr lang="ru-RU" b="1" dirty="0" smtClean="0">
                <a:solidFill>
                  <a:srgbClr val="C00000"/>
                </a:solidFill>
                <a:cs typeface="Arial" panose="020B0604020202020204" pitchFamily="34" charset="0"/>
              </a:rPr>
              <a:t>1774</a:t>
            </a:r>
            <a:r>
              <a:rPr lang="ru-RU" dirty="0" smtClean="0">
                <a:solidFill>
                  <a:srgbClr val="002060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cs typeface="Arial" panose="020B0604020202020204" pitchFamily="34" charset="0"/>
              </a:rPr>
              <a:t>услуг</a:t>
            </a:r>
            <a:r>
              <a:rPr lang="ru-RU" sz="1600" dirty="0" smtClean="0">
                <a:solidFill>
                  <a:srgbClr val="002060"/>
                </a:solidFill>
                <a:cs typeface="Arial" panose="020B0604020202020204" pitchFamily="34" charset="0"/>
              </a:rPr>
              <a:t>)</a:t>
            </a:r>
            <a:endParaRPr lang="ru-RU" sz="1600" dirty="0">
              <a:solidFill>
                <a:srgbClr val="002060"/>
              </a:solidFill>
              <a:cs typeface="Arial" panose="020B0604020202020204" pitchFamily="34" charset="0"/>
            </a:endParaRPr>
          </a:p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endParaRPr lang="ru-RU" sz="1400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131135" y="2362265"/>
            <a:ext cx="4663427" cy="4330233"/>
            <a:chOff x="122758" y="2248063"/>
            <a:chExt cx="3673455" cy="4554481"/>
          </a:xfrm>
        </p:grpSpPr>
        <p:sp>
          <p:nvSpPr>
            <p:cNvPr id="22" name="Rectangle 7"/>
            <p:cNvSpPr>
              <a:spLocks noChangeArrowheads="1"/>
            </p:cNvSpPr>
            <p:nvPr/>
          </p:nvSpPr>
          <p:spPr bwMode="gray">
            <a:xfrm>
              <a:off x="122758" y="2270531"/>
              <a:ext cx="3673455" cy="4532013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>
              <a:softEdge rad="63500"/>
            </a:effectLst>
          </p:spPr>
          <p:txBody>
            <a:bodyPr vert="horz" wrap="square" lIns="74638" tIns="73472" rIns="73472" bIns="73472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464862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endParaRPr lang="en-GB" sz="1428" b="1" dirty="0">
                <a:solidFill>
                  <a:srgbClr val="002960"/>
                </a:solidFill>
              </a:endParaRP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213118" y="2248063"/>
              <a:ext cx="3422080" cy="30510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300"/>
                </a:spcAft>
              </a:pPr>
              <a:endParaRPr lang="ru-RU" sz="1400" b="1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300"/>
                </a:spcAft>
              </a:pP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лабораторные </a:t>
              </a:r>
              <a:r>
                <a:rPr lang="ru-RU" sz="16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луги </a:t>
              </a:r>
              <a:r>
                <a:rPr lang="ru-RU" sz="1400" i="1" dirty="0">
                  <a:latin typeface="Arial" panose="020B0604020202020204" pitchFamily="34" charset="0"/>
                  <a:cs typeface="Arial" panose="020B0604020202020204" pitchFamily="34" charset="0"/>
                </a:rPr>
                <a:t>(общеклинические, биохимические исследования</a:t>
              </a:r>
              <a:r>
                <a:rPr lang="ru-RU" sz="14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) </a:t>
              </a:r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31</a:t>
              </a:r>
              <a:r>
                <a:rPr lang="ru-RU" sz="1400" i="1" dirty="0" smtClean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</a:t>
              </a:r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1</a:t>
              </a:r>
              <a:endParaRPr lang="ru-RU" sz="16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300"/>
                </a:spcAft>
              </a:pPr>
              <a:r>
                <a:rPr lang="ru-RU" sz="16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инструментальные </a:t>
              </a:r>
              <a:r>
                <a:rPr lang="ru-RU" sz="16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тоды исследования </a:t>
              </a:r>
              <a:r>
                <a:rPr lang="ru-RU" sz="14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(ФГДС</a:t>
              </a:r>
              <a:r>
                <a:rPr lang="ru-RU" sz="1400" i="1" dirty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холтер</a:t>
              </a:r>
              <a:r>
                <a:rPr lang="ru-RU" sz="1400" i="1" dirty="0">
                  <a:latin typeface="Arial" panose="020B0604020202020204" pitchFamily="34" charset="0"/>
                  <a:cs typeface="Arial" panose="020B0604020202020204" pitchFamily="34" charset="0"/>
                </a:rPr>
                <a:t> ЭКГ, СМАД, </a:t>
              </a:r>
              <a:r>
                <a:rPr lang="ru-RU" sz="1400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ЭхоКГ</a:t>
              </a:r>
              <a:r>
                <a:rPr lang="ru-RU" sz="1400" i="1" dirty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флюорография, </a:t>
              </a:r>
              <a:r>
                <a:rPr lang="ru-RU" sz="1400" i="1" dirty="0">
                  <a:latin typeface="Arial" panose="020B0604020202020204" pitchFamily="34" charset="0"/>
                  <a:cs typeface="Arial" panose="020B0604020202020204" pitchFamily="34" charset="0"/>
                </a:rPr>
                <a:t>спирография и т.д</a:t>
              </a:r>
              <a:r>
                <a:rPr lang="ru-RU" sz="14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)  </a:t>
              </a:r>
            </a:p>
            <a:p>
              <a:pPr>
                <a:spcAft>
                  <a:spcPts val="300"/>
                </a:spcAft>
              </a:pPr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8</a:t>
              </a:r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        </a:t>
              </a:r>
              <a:r>
                <a:rPr lang="ru-RU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</a:p>
            <a:p>
              <a:pPr algn="just">
                <a:spcAft>
                  <a:spcPts val="300"/>
                </a:spcAft>
              </a:pPr>
              <a:r>
                <a:rPr lang="kk-KZ" sz="1600" b="1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r>
                <a:rPr lang="kk-KZ" sz="16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процедуры и манипуляции </a:t>
              </a:r>
              <a:r>
                <a:rPr lang="kk-KZ" sz="14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</a:t>
              </a:r>
              <a:r>
                <a:rPr lang="ru-RU" sz="14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полняемые </a:t>
              </a:r>
              <a:r>
                <a:rPr lang="ru-RU" sz="1400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процедурных кабинетах в организациях </a:t>
              </a:r>
              <a:r>
                <a:rPr lang="ru-RU" sz="14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МСП)</a:t>
              </a:r>
              <a:r>
                <a:rPr lang="kk-KZ" sz="1400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kk-KZ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8       31  </a:t>
              </a:r>
            </a:p>
            <a:p>
              <a:pPr algn="just">
                <a:spcAft>
                  <a:spcPts val="300"/>
                </a:spcAft>
              </a:pPr>
              <a:r>
                <a:rPr lang="kk-KZ" sz="1600" b="1" dirty="0" smtClean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5019876" y="2362265"/>
            <a:ext cx="71569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600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сультация </a:t>
            </a:r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</a:t>
            </a:r>
            <a:r>
              <a:rPr lang="en-US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ьных специалистов</a:t>
            </a:r>
            <a:endParaRPr lang="en-US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 startAt="2"/>
            </a:pP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бораторные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(ИФА,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иммунохемилюминисценции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иммуногистомихические</a:t>
            </a:r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, бактериологические) </a:t>
            </a:r>
            <a:endParaRPr lang="en-US" sz="14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AutoNum type="arabicPeriod" startAt="2"/>
            </a:pPr>
            <a:r>
              <a:rPr lang="kk-KZ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альные методы исследования 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kk-KZ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ентгенологические, УЗИ и др.)</a:t>
            </a:r>
            <a:endParaRPr lang="kk-KZ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kk-KZ" sz="1600" b="1" dirty="0"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kk-KZ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лючены услуги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k-KZ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ской реабилитации </a:t>
            </a:r>
            <a:endParaRPr lang="kk-KZ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kk-KZ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ой паллиативной помощи </a:t>
            </a:r>
            <a:endParaRPr lang="kk-KZ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kk-KZ" sz="1600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выделены отдельными приложениями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ы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ля: 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ринингов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рамках ОСМС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пренатальный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, неонатальный скрининг, онкология (КРР, РШМ, РМЖ), гепатита В и С, сахарный диабет, АГ и ИБС, глаукома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одежных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ов здоровья в рамках системы 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МС;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вматологических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ов в рамках 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БМП;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имальные объемы услуг ПМК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консультативно-диагностических поездов в рамках 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БМП;</a:t>
            </a: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матологической 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и в рамках системы ОСМС 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(плановой, экстренной, </a:t>
            </a:r>
            <a:r>
              <a:rPr lang="ru-RU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ортодонтической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</p:txBody>
      </p:sp>
      <p:sp>
        <p:nvSpPr>
          <p:cNvPr id="5" name="Стрелка вправо 4"/>
          <p:cNvSpPr/>
          <p:nvPr/>
        </p:nvSpPr>
        <p:spPr>
          <a:xfrm>
            <a:off x="2116135" y="2000183"/>
            <a:ext cx="346714" cy="266638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1" name="Стрелка вправо 20"/>
          <p:cNvSpPr/>
          <p:nvPr/>
        </p:nvSpPr>
        <p:spPr>
          <a:xfrm>
            <a:off x="8068994" y="2011016"/>
            <a:ext cx="398335" cy="266638"/>
          </a:xfrm>
          <a:prstGeom prst="rightArrow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302444" y="648737"/>
            <a:ext cx="395792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en-US" sz="2400" b="1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. </a:t>
            </a:r>
            <a:r>
              <a:rPr lang="ru-RU" sz="2000" b="1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азделены:</a:t>
            </a:r>
            <a:endParaRPr lang="ru-RU" sz="2000" b="1" dirty="0">
              <a:solidFill>
                <a:srgbClr val="C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655275" y="3291016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dirty="0"/>
          </a:p>
        </p:txBody>
      </p:sp>
      <p:sp>
        <p:nvSpPr>
          <p:cNvPr id="26" name="Стрелка вправо 25"/>
          <p:cNvSpPr/>
          <p:nvPr/>
        </p:nvSpPr>
        <p:spPr>
          <a:xfrm>
            <a:off x="3302444" y="2945178"/>
            <a:ext cx="289916" cy="156172"/>
          </a:xfrm>
          <a:prstGeom prst="rightArrow">
            <a:avLst>
              <a:gd name="adj1" fmla="val 74716"/>
              <a:gd name="adj2" fmla="val 50000"/>
            </a:avLst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7" name="Стрелка вправо 26"/>
          <p:cNvSpPr/>
          <p:nvPr/>
        </p:nvSpPr>
        <p:spPr>
          <a:xfrm>
            <a:off x="649861" y="3977997"/>
            <a:ext cx="289916" cy="156172"/>
          </a:xfrm>
          <a:prstGeom prst="rightArrow">
            <a:avLst>
              <a:gd name="adj1" fmla="val 74716"/>
              <a:gd name="adj2" fmla="val 50000"/>
            </a:avLst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2555867" y="4713401"/>
            <a:ext cx="289916" cy="156172"/>
          </a:xfrm>
          <a:prstGeom prst="rightArrow">
            <a:avLst>
              <a:gd name="adj1" fmla="val 74716"/>
              <a:gd name="adj2" fmla="val 50000"/>
            </a:avLst>
          </a:prstGeom>
          <a:solidFill>
            <a:srgbClr val="00B050"/>
          </a:solidFill>
          <a:ln w="952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3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800" dirty="0" smtClean="0"/>
              <a:t>5</a:t>
            </a:r>
            <a:endParaRPr lang="ru-RU" sz="1800" dirty="0"/>
          </a:p>
        </p:txBody>
      </p:sp>
      <p:sp>
        <p:nvSpPr>
          <p:cNvPr id="2" name="TextBox 1"/>
          <p:cNvSpPr txBox="1"/>
          <p:nvPr/>
        </p:nvSpPr>
        <p:spPr>
          <a:xfrm>
            <a:off x="1725157" y="906921"/>
            <a:ext cx="1951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 smtClean="0">
                <a:solidFill>
                  <a:srgbClr val="00B050"/>
                </a:solidFill>
              </a:rPr>
              <a:t>Приложение 1</a:t>
            </a:r>
            <a:endParaRPr lang="ru-RU" sz="1400" i="1" dirty="0">
              <a:solidFill>
                <a:srgbClr val="00B05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800562" y="870444"/>
            <a:ext cx="1951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 smtClean="0">
                <a:solidFill>
                  <a:srgbClr val="00B050"/>
                </a:solidFill>
              </a:rPr>
              <a:t>Приложение 2</a:t>
            </a:r>
            <a:endParaRPr lang="ru-RU" sz="1400" i="1" dirty="0">
              <a:solidFill>
                <a:srgbClr val="00B050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xmlns="" val="21919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5614" y="118775"/>
            <a:ext cx="114130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овершенствование Правил оказания КДП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4" name="Group 29"/>
          <p:cNvGrpSpPr/>
          <p:nvPr/>
        </p:nvGrpSpPr>
        <p:grpSpPr>
          <a:xfrm>
            <a:off x="1531149" y="532537"/>
            <a:ext cx="9143461" cy="527360"/>
            <a:chOff x="0" y="1348879"/>
            <a:chExt cx="8961438" cy="568548"/>
          </a:xfrm>
        </p:grpSpPr>
        <p:sp>
          <p:nvSpPr>
            <p:cNvPr id="5" name="Rectangle 136"/>
            <p:cNvSpPr>
              <a:spLocks noChangeArrowheads="1"/>
            </p:cNvSpPr>
            <p:nvPr/>
          </p:nvSpPr>
          <p:spPr bwMode="auto">
            <a:xfrm>
              <a:off x="0" y="1348879"/>
              <a:ext cx="8961438" cy="568548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2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6" name="Straight Connector 31"/>
            <p:cNvCxnSpPr>
              <a:cxnSpLocks/>
            </p:cNvCxnSpPr>
            <p:nvPr/>
          </p:nvCxnSpPr>
          <p:spPr>
            <a:xfrm>
              <a:off x="0" y="1348879"/>
              <a:ext cx="8961438" cy="0"/>
            </a:xfrm>
            <a:prstGeom prst="line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</a:ln>
            <a:effectLst/>
          </p:spPr>
        </p:cxnSp>
      </p:grpSp>
      <p:sp>
        <p:nvSpPr>
          <p:cNvPr id="7" name="Прямоугольник 6"/>
          <p:cNvSpPr/>
          <p:nvPr/>
        </p:nvSpPr>
        <p:spPr>
          <a:xfrm>
            <a:off x="3193422" y="627624"/>
            <a:ext cx="49200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en-US" b="1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I. </a:t>
            </a:r>
            <a:r>
              <a:rPr lang="kk-KZ" b="1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Добавлены новые приложения:</a:t>
            </a:r>
            <a:endParaRPr lang="ru-RU" b="1" dirty="0">
              <a:solidFill>
                <a:srgbClr val="C0000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90569" y="1308349"/>
            <a:ext cx="1951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 smtClean="0">
                <a:solidFill>
                  <a:srgbClr val="00B050"/>
                </a:solidFill>
              </a:rPr>
              <a:t>Приложение 3</a:t>
            </a:r>
            <a:endParaRPr lang="ru-RU" sz="1400" i="1" dirty="0">
              <a:solidFill>
                <a:srgbClr val="00B05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907660" y="1308349"/>
            <a:ext cx="1951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 smtClean="0">
                <a:solidFill>
                  <a:srgbClr val="00B050"/>
                </a:solidFill>
              </a:rPr>
              <a:t>Приложение 4</a:t>
            </a:r>
            <a:endParaRPr lang="ru-RU" sz="1400" i="1" dirty="0">
              <a:solidFill>
                <a:srgbClr val="00B05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389044" y="1316130"/>
            <a:ext cx="1951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 smtClean="0">
                <a:solidFill>
                  <a:srgbClr val="00B050"/>
                </a:solidFill>
              </a:rPr>
              <a:t>Приложение 5</a:t>
            </a:r>
            <a:endParaRPr lang="ru-RU" sz="1400" i="1" dirty="0">
              <a:solidFill>
                <a:srgbClr val="00B05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8919" y="1817195"/>
            <a:ext cx="313037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Алгоритм определения источника финансирования консультативно-диагностических услуг в рамках ГОБМП и в системе ОСМС</a:t>
            </a:r>
            <a:endParaRPr lang="ru-RU" b="1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3931738" y="1817194"/>
            <a:ext cx="363288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еречень социально-значимых заболеваний, подлежащих динамическому наблюдению  профильными специалистами на уровне КДП в рамках ГОБМП </a:t>
            </a:r>
          </a:p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33 заболеваний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003059" y="1835707"/>
            <a:ext cx="363288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еречень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хронических заболеваний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, подлежащих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блюдению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рофильными специалистами в рамках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ОБМП и в системе ОСМС</a:t>
            </a:r>
          </a:p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80 заболеваний)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kk-KZ" sz="1800" dirty="0" smtClean="0"/>
              <a:t>6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xmlns="" val="2092679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5614" y="118775"/>
            <a:ext cx="11413066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2000" b="1" dirty="0" smtClean="0"/>
              <a:t>Алгоритм определения источника финансирования консультативно-диагностических услуг в рамках ГОБМП и в системе ОСМС</a:t>
            </a:r>
            <a:endParaRPr lang="ru-RU" sz="2000" b="1" dirty="0"/>
          </a:p>
        </p:txBody>
      </p:sp>
      <p:grpSp>
        <p:nvGrpSpPr>
          <p:cNvPr id="4" name="Group 29"/>
          <p:cNvGrpSpPr/>
          <p:nvPr/>
        </p:nvGrpSpPr>
        <p:grpSpPr>
          <a:xfrm>
            <a:off x="1458760" y="734328"/>
            <a:ext cx="9143461" cy="527360"/>
            <a:chOff x="0" y="1348879"/>
            <a:chExt cx="8961438" cy="568548"/>
          </a:xfrm>
        </p:grpSpPr>
        <p:sp>
          <p:nvSpPr>
            <p:cNvPr id="5" name="Rectangle 136"/>
            <p:cNvSpPr>
              <a:spLocks noChangeArrowheads="1"/>
            </p:cNvSpPr>
            <p:nvPr/>
          </p:nvSpPr>
          <p:spPr bwMode="auto">
            <a:xfrm>
              <a:off x="0" y="1348879"/>
              <a:ext cx="8961438" cy="568548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2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6" name="Straight Connector 31"/>
            <p:cNvCxnSpPr>
              <a:cxnSpLocks/>
            </p:cNvCxnSpPr>
            <p:nvPr/>
          </p:nvCxnSpPr>
          <p:spPr>
            <a:xfrm>
              <a:off x="0" y="1348879"/>
              <a:ext cx="8961438" cy="0"/>
            </a:xfrm>
            <a:prstGeom prst="line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</a:ln>
            <a:effectLst/>
          </p:spPr>
        </p:cxnSp>
      </p:grp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97401537"/>
              </p:ext>
            </p:extLst>
          </p:nvPr>
        </p:nvGraphicFramePr>
        <p:xfrm>
          <a:off x="362465" y="880287"/>
          <a:ext cx="11285838" cy="599133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37751"/>
                <a:gridCol w="1408670"/>
                <a:gridCol w="5782963"/>
                <a:gridCol w="1869989"/>
                <a:gridCol w="1886465"/>
              </a:tblGrid>
              <a:tr h="414664">
                <a:tc rowSpan="2">
                  <a:txBody>
                    <a:bodyPr/>
                    <a:lstStyle/>
                    <a:p>
                      <a:pPr algn="ctr"/>
                      <a:r>
                        <a:rPr lang="kk-KZ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уппа поводов обращения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водов обращения</a:t>
                      </a:r>
                      <a:endParaRPr lang="ru-RU" sz="10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kk-KZ" sz="10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чень КДУ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kk-KZ" sz="1200" dirty="0" smtClean="0">
                        <a:latin typeface="+mn-lt"/>
                      </a:endParaRPr>
                    </a:p>
                  </a:txBody>
                  <a:tcPr/>
                </a:tc>
              </a:tr>
              <a:tr h="237171"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000" i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ложение 1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1000" i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ложение 2 </a:t>
                      </a:r>
                      <a:endParaRPr lang="ru-RU" sz="1000" i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rowSpan="6">
                  <a:txBody>
                    <a:bodyPr/>
                    <a:lstStyle/>
                    <a:p>
                      <a:r>
                        <a:rPr lang="kk-KZ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r>
                        <a:rPr lang="kk-KZ" sz="105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болевание</a:t>
                      </a:r>
                      <a:endParaRPr lang="ru-RU" sz="105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трое заболевание (состояние)/Обострение хронического заболе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/ОСМС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озрение на социально-значимое заболевание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сультирование дистанционное по поводу заболевания (динамическое наблюдение)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тив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МБ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54908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ая реабилитация</a:t>
                      </a:r>
                      <a:r>
                        <a:rPr lang="kk-KZ" sz="105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3 этап)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r>
                        <a:rPr lang="ru-RU" sz="105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туберкулез)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МС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85404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оматологическая помощь: экстренная для социально-уязвимых категорий, плановая: дети и беременные женщины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МС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rowSpan="2">
                  <a:txBody>
                    <a:bodyPr/>
                    <a:lstStyle/>
                    <a:p>
                      <a:r>
                        <a:rPr lang="kk-KZ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</a:t>
                      </a:r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105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авма</a:t>
                      </a:r>
                      <a:endParaRPr lang="ru-RU" sz="105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трая травма (</a:t>
                      </a:r>
                      <a:r>
                        <a:rPr lang="ru-RU" sz="105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авмпункт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АПО)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МБ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ледствия травмы (АПО)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МБ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МС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rowSpan="6">
                  <a:txBody>
                    <a:bodyPr/>
                    <a:lstStyle/>
                    <a:p>
                      <a:r>
                        <a:rPr lang="kk-KZ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</a:t>
                      </a:r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rowSpan="6">
                  <a:txBody>
                    <a:bodyPr/>
                    <a:lstStyle/>
                    <a:p>
                      <a:r>
                        <a:rPr lang="kk-KZ" sz="105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илактика</a:t>
                      </a:r>
                      <a:endParaRPr lang="ru-RU" sz="105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щение с профилактической целью (кроме скрининга)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МС</a:t>
                      </a:r>
                      <a:r>
                        <a:rPr lang="kk-KZ" sz="105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мунопрофилактика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МБ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МБ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рининг (</a:t>
                      </a:r>
                      <a:r>
                        <a:rPr lang="ru-RU" sz="105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осмотр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МС</a:t>
                      </a:r>
                      <a:r>
                        <a:rPr lang="kk-KZ" sz="105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482774">
                <a:tc vMerge="1"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тронаж/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луги по вопросам планирования семьи, безопасного прерывания беременности, охране репродуктивного здоровья/Прием при антенатальном наблюдении/Прием при постнатальном наблюдении/ Услуги по охране здоровья обучающихся (школьная медицина)/Мероприятия по здоровому образу жизни/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МБП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МБ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237171">
                <a:tc vMerge="1"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ные медосмотры (086/у;</a:t>
                      </a:r>
                      <a:r>
                        <a:rPr lang="ru-RU" sz="105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08-1/у; 083/у)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но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но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237171">
                <a:tc vMerge="1">
                  <a:txBody>
                    <a:bodyPr/>
                    <a:lstStyle/>
                    <a:p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оматологические услуги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05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ОМБП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105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85404">
                <a:tc>
                  <a:txBody>
                    <a:bodyPr/>
                    <a:lstStyle/>
                    <a:p>
                      <a:r>
                        <a:rPr lang="kk-KZ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</a:t>
                      </a:r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намическое  наблюдение</a:t>
                      </a:r>
                      <a:endParaRPr lang="ru-RU" sz="105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намическое наблюдение с хроническими заболеваниями (в том числе ПУЗ)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85404">
                <a:tc>
                  <a:txBody>
                    <a:bodyPr/>
                    <a:lstStyle/>
                    <a:p>
                      <a:r>
                        <a:rPr lang="kk-KZ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</a:t>
                      </a:r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ко-социальные услуги</a:t>
                      </a:r>
                      <a:endParaRPr lang="ru-RU" sz="105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ко-социальная поддержка/Психологическая поддержка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МБ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49347">
                <a:tc>
                  <a:txBody>
                    <a:bodyPr/>
                    <a:lstStyle/>
                    <a:p>
                      <a:r>
                        <a:rPr lang="kk-KZ" sz="1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</a:t>
                      </a:r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kk-KZ" sz="105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й</a:t>
                      </a:r>
                      <a:endParaRPr lang="ru-RU" sz="105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й/Оформление документов на МСЭ/Выписка</a:t>
                      </a:r>
                      <a:r>
                        <a:rPr lang="ru-RU" sz="105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цептов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БМП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kk-KZ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66174" y="502301"/>
            <a:ext cx="1975275" cy="377985"/>
          </a:xfrm>
          <a:prstGeom prst="rect">
            <a:avLst/>
          </a:prstGeom>
        </p:spPr>
      </p:pic>
      <p:sp>
        <p:nvSpPr>
          <p:cNvPr id="10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kk-KZ" sz="1800" dirty="0"/>
              <a:t>7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xmlns="" val="30925040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701629" y="1015470"/>
            <a:ext cx="109410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еречень</a:t>
            </a:r>
            <a:r>
              <a:rPr 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оциально-значимых заболеваний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подлежащих динамическому наблюдению  профильными специалистами на уровне КДП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 рамках ГОБМП </a:t>
            </a: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33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заболеваний):</a:t>
            </a:r>
          </a:p>
        </p:txBody>
      </p:sp>
      <p:sp>
        <p:nvSpPr>
          <p:cNvPr id="20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5614" y="118775"/>
            <a:ext cx="114130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овершенствование Правил оказания КДП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33" name="Group 29"/>
          <p:cNvGrpSpPr/>
          <p:nvPr/>
        </p:nvGrpSpPr>
        <p:grpSpPr>
          <a:xfrm>
            <a:off x="1531149" y="532537"/>
            <a:ext cx="9143461" cy="527360"/>
            <a:chOff x="0" y="1348879"/>
            <a:chExt cx="8961438" cy="568548"/>
          </a:xfrm>
        </p:grpSpPr>
        <p:sp>
          <p:nvSpPr>
            <p:cNvPr id="34" name="Rectangle 136"/>
            <p:cNvSpPr>
              <a:spLocks noChangeArrowheads="1"/>
            </p:cNvSpPr>
            <p:nvPr/>
          </p:nvSpPr>
          <p:spPr bwMode="auto">
            <a:xfrm>
              <a:off x="0" y="1348879"/>
              <a:ext cx="8961438" cy="568548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2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35" name="Straight Connector 31"/>
            <p:cNvCxnSpPr>
              <a:cxnSpLocks/>
            </p:cNvCxnSpPr>
            <p:nvPr/>
          </p:nvCxnSpPr>
          <p:spPr>
            <a:xfrm>
              <a:off x="0" y="1348879"/>
              <a:ext cx="8961438" cy="0"/>
            </a:xfrm>
            <a:prstGeom prst="line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</a:ln>
            <a:effectLst/>
          </p:spPr>
        </p:cxnSp>
      </p:grpSp>
      <p:sp>
        <p:nvSpPr>
          <p:cNvPr id="9" name="TextBox 8"/>
          <p:cNvSpPr txBox="1"/>
          <p:nvPr/>
        </p:nvSpPr>
        <p:spPr>
          <a:xfrm>
            <a:off x="465614" y="2196725"/>
            <a:ext cx="5872217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уберкулез (А 15-А19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Болезнь вызванная вирусом иммунодефицита человека (ВИЧ) (В 20-В24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локачественные и доброкачественные новообразования (С00-97; D00-09; D37-48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Миелодиспластические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синдромы (D46), Хроническая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миелопролиферативная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болезнь (D47.1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ммунодефициты с преимущественной недостаточностью антител (D80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омбинированные иммунодефициты (D81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ммунодефициты, связанные с другими значительными дефектами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(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D82-D84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ахарный диабет (E12-E14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сихические расстройства и расстройства поведения (F00-F99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егенеративные болезни нервной системы (G30-G32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Демиелинизирующие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болезни центральной нервной системы (G35-G37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Гемолитические анемии у взрослых (D 56.0; D 56.2; D 56.4; D 57; D 57.0-D 57.2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ароксизмальная ночная гемоглобинурия (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Маркиафавы-Микели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) * (D 59.5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Идиопатическая тромбоцитопеническая пурпура* (D 69.3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Гистиоцитоз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из клеток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Лангерганса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, не классифицированный в других рубриках (D 76.0)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Недостаточность других витаминов группы В* (Е 53.1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591936" y="2093153"/>
            <a:ext cx="5457187" cy="6186309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7. Болезни накопления гликогена* (E 74.0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8. Другие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финголипидозы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 75.2)</a:t>
            </a:r>
            <a:endParaRPr lang="kk-KZ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19.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укополисахаридоз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 76.0-E 76.2)</a:t>
            </a:r>
            <a:endParaRPr lang="kk-KZ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.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рфирии* 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 80.2)</a:t>
            </a:r>
            <a:endParaRPr lang="kk-KZ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1.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рушения обмена меди* (E 83.0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2. Нарушение обмена веществ* (Е 84.8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3. Наследственный семейный амилоидоз без невропатии* (E 85.0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4. Нарушения обмена белков плазмы* (Е 88.0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5.Болезнь двигательного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еврона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(G 12.2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6. Синдром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Драве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у детей (G 40.4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7. Синдром дефицита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lut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1 у детей (G 93.4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8. Другие интерстициальные легочные болезни у взрослых (J 84; J 84.0; J 84.1; J 84.8; J 84.9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9. Первичная легочная гипертензия* (I 27.0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30. Буллезные нарушения* (L 10; L 13.0)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31. Незавершенный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остеогенез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 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Q 78.0)</a:t>
            </a:r>
            <a:endParaRPr lang="kk-KZ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32. Врожденный ихтиоз*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Q 80)</a:t>
            </a:r>
            <a:endParaRPr lang="kk-KZ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kk-KZ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33. Буллезный эпидермолиз* (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Q 81)</a:t>
            </a:r>
            <a:endParaRPr lang="kk-KZ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en-US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kk-KZ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kk-KZ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AutoNum type="arabicPeriod"/>
            </a:pPr>
            <a:endParaRPr lang="kk-KZ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kk-KZ" sz="1800" dirty="0" smtClean="0"/>
              <a:t>8</a:t>
            </a:r>
            <a:endParaRPr lang="ru-RU" sz="1800" dirty="0"/>
          </a:p>
        </p:txBody>
      </p:sp>
      <p:sp>
        <p:nvSpPr>
          <p:cNvPr id="15" name="TextBox 14"/>
          <p:cNvSpPr txBox="1"/>
          <p:nvPr/>
        </p:nvSpPr>
        <p:spPr>
          <a:xfrm>
            <a:off x="10674610" y="575684"/>
            <a:ext cx="1951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 smtClean="0">
                <a:solidFill>
                  <a:srgbClr val="00B050"/>
                </a:solidFill>
              </a:rPr>
              <a:t>Приложение 4</a:t>
            </a:r>
            <a:endParaRPr lang="ru-RU" sz="1400" i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1133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1"/>
          <p:cNvSpPr>
            <a:spLocks noChangeArrowheads="1"/>
          </p:cNvSpPr>
          <p:nvPr/>
        </p:nvSpPr>
        <p:spPr bwMode="auto">
          <a:xfrm>
            <a:off x="679722" y="1938483"/>
            <a:ext cx="5066041" cy="5255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 fontAlgn="base">
              <a:spcBef>
                <a:spcPct val="0"/>
              </a:spcBef>
              <a:spcAft>
                <a:spcPts val="300"/>
              </a:spcAft>
              <a:buAutoNum type="arabicPeriod"/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Последствия перенесенных инфекционных и паразитарных заболеваний –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>
              <a:solidFill>
                <a:srgbClr val="E6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Заболевания крови и кроветворных органов -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dirty="0">
              <a:solidFill>
                <a:srgbClr val="E6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Болезни эндокринной системы, расстройства питания и нарушения обмена веществ –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Болезни мочеполовой системы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5. Болезни нервной системы –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6. Офтальмология –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9 </a:t>
            </a: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7. Болезни органов слуха  -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8. Болезни системы кровообращения –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solidFill>
                <a:srgbClr val="E6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solidFill>
                <a:srgbClr val="E6E6E6">
                  <a:lumMod val="1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31234" y="1013667"/>
            <a:ext cx="119295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00255" fontAlgn="base">
              <a:spcBef>
                <a:spcPct val="0"/>
              </a:spcBef>
              <a:spcAft>
                <a:spcPct val="0"/>
              </a:spcAft>
              <a:tabLst>
                <a:tab pos="271358" algn="l"/>
              </a:tabLst>
            </a:pPr>
            <a:r>
              <a:rPr lang="ru-RU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еречень заболеваний</a:t>
            </a:r>
            <a:r>
              <a:rPr lang="ru-RU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,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одлежащих наблюдению профильными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пециалистами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в рамках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ГОМБП и в системе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ОСМС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</a:t>
            </a:r>
            <a:r>
              <a:rPr lang="ru-RU" b="1" dirty="0" smtClean="0">
                <a:solidFill>
                  <a:srgbClr val="C000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80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заболеваний):</a:t>
            </a:r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89467" y="86351"/>
            <a:ext cx="1141306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353" algn="l"/>
              </a:tabLst>
              <a:defRPr/>
            </a:pPr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овершенствование Правил оказания КДП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263001" y="1961308"/>
            <a:ext cx="6096000" cy="3862596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 Болезни органов дыхания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1</a:t>
            </a: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 Болезни органов пищеварения -</a:t>
            </a: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 Болезни кожи, подкожной клетчатки – </a:t>
            </a: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. Болезни костно-мышечной системы – </a:t>
            </a:r>
            <a:r>
              <a:rPr lang="en-US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kk-KZ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en-US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kk-KZ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жения в перинатальном периоде –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. Врожденные аномалии, пороки развития –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</a:t>
            </a: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 Травмы (последствия травм)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. Состояние после трансплантации органов и тканей - </a:t>
            </a:r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grpSp>
        <p:nvGrpSpPr>
          <p:cNvPr id="13" name="Group 29"/>
          <p:cNvGrpSpPr/>
          <p:nvPr/>
        </p:nvGrpSpPr>
        <p:grpSpPr>
          <a:xfrm>
            <a:off x="1608374" y="503701"/>
            <a:ext cx="9143461" cy="527360"/>
            <a:chOff x="0" y="1348879"/>
            <a:chExt cx="8961438" cy="568548"/>
          </a:xfrm>
        </p:grpSpPr>
        <p:sp>
          <p:nvSpPr>
            <p:cNvPr id="14" name="Rectangle 136"/>
            <p:cNvSpPr>
              <a:spLocks noChangeArrowheads="1"/>
            </p:cNvSpPr>
            <p:nvPr/>
          </p:nvSpPr>
          <p:spPr bwMode="auto">
            <a:xfrm>
              <a:off x="0" y="1348879"/>
              <a:ext cx="8961438" cy="568548"/>
            </a:xfrm>
            <a:prstGeom prst="rect">
              <a:avLst/>
            </a:prstGeom>
            <a:gradFill rotWithShape="1">
              <a:gsLst>
                <a:gs pos="0">
                  <a:srgbClr val="EEEEEE"/>
                </a:gs>
                <a:gs pos="100000">
                  <a:srgbClr val="EEEEEE">
                    <a:gamma/>
                    <a:tint val="0"/>
                    <a:invGamma/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22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5" name="Straight Connector 31"/>
            <p:cNvCxnSpPr>
              <a:cxnSpLocks/>
            </p:cNvCxnSpPr>
            <p:nvPr/>
          </p:nvCxnSpPr>
          <p:spPr>
            <a:xfrm>
              <a:off x="0" y="1348879"/>
              <a:ext cx="8961438" cy="0"/>
            </a:xfrm>
            <a:prstGeom prst="line">
              <a:avLst/>
            </a:prstGeom>
            <a:noFill/>
            <a:ln w="9525" cap="flat" cmpd="sng" algn="ctr">
              <a:solidFill>
                <a:srgbClr val="0065BD"/>
              </a:solidFill>
              <a:prstDash val="solid"/>
            </a:ln>
            <a:effectLst/>
          </p:spPr>
        </p:cxnSp>
      </p:grpSp>
      <p:sp>
        <p:nvSpPr>
          <p:cNvPr id="16" name="Номер слайда 2">
            <a:extLst>
              <a:ext uri="{FF2B5EF4-FFF2-40B4-BE49-F238E27FC236}">
                <a16:creationId xmlns="" xmlns:a16="http://schemas.microsoft.com/office/drawing/2014/main" id="{F412FDB0-3FB7-49CF-B4FC-FB5E1556A956}"/>
              </a:ext>
            </a:extLst>
          </p:cNvPr>
          <p:cNvSpPr txBox="1">
            <a:spLocks/>
          </p:cNvSpPr>
          <p:nvPr/>
        </p:nvSpPr>
        <p:spPr>
          <a:xfrm>
            <a:off x="11607114" y="6375633"/>
            <a:ext cx="584886" cy="482367"/>
          </a:xfrm>
          <a:prstGeom prst="rect">
            <a:avLst/>
          </a:prstGeom>
          <a:solidFill>
            <a:srgbClr val="00206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ru-RU"/>
            </a:defPPr>
            <a:lvl1pPr algn="ctr">
              <a:lnSpc>
                <a:spcPct val="80000"/>
              </a:lnSpc>
              <a:buClr>
                <a:srgbClr val="C00000"/>
              </a:buClr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kk-KZ" sz="1800" dirty="0" smtClean="0"/>
              <a:t>9</a:t>
            </a:r>
            <a:endParaRPr lang="ru-RU" sz="1800" dirty="0"/>
          </a:p>
        </p:txBody>
      </p:sp>
      <p:sp>
        <p:nvSpPr>
          <p:cNvPr id="10" name="TextBox 9"/>
          <p:cNvSpPr txBox="1"/>
          <p:nvPr/>
        </p:nvSpPr>
        <p:spPr>
          <a:xfrm>
            <a:off x="10826865" y="555235"/>
            <a:ext cx="1951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 smtClean="0">
                <a:solidFill>
                  <a:srgbClr val="00B050"/>
                </a:solidFill>
              </a:rPr>
              <a:t>Приложение 5</a:t>
            </a:r>
            <a:endParaRPr lang="ru-RU" sz="1400" i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49090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LOP - normal" id="{9B1EEE48-FBB1-4441-A18B-EA0D61F9D5CF}" vid="{46CCEF6C-6F35-4EC3-B141-99BB08E4FC4A}"/>
    </a:ext>
  </a:extLst>
</a:theme>
</file>

<file path=ppt/theme/theme3.xml><?xml version="1.0" encoding="utf-8"?>
<a:theme xmlns:a="http://schemas.openxmlformats.org/drawingml/2006/main" name="1_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LOP - normal" id="{9B1EEE48-FBB1-4441-A18B-EA0D61F9D5CF}" vid="{46CCEF6C-6F35-4EC3-B141-99BB08E4FC4A}"/>
    </a:ext>
  </a:extLst>
</a:theme>
</file>

<file path=ppt/theme/theme4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6</TotalTime>
  <Words>2076</Words>
  <Application>Microsoft Office PowerPoint</Application>
  <PresentationFormat>Произвольный</PresentationFormat>
  <Paragraphs>440</Paragraphs>
  <Slides>12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7" baseType="lpstr">
      <vt:lpstr>1_Тема Office</vt:lpstr>
      <vt:lpstr>Firm Format - template</vt:lpstr>
      <vt:lpstr>1_Firm Format - template</vt:lpstr>
      <vt:lpstr>2_Тема Office</vt:lpstr>
      <vt:lpstr>think-cell Slide</vt:lpstr>
      <vt:lpstr>Слайд 1</vt:lpstr>
      <vt:lpstr>Слайд 2</vt:lpstr>
      <vt:lpstr>Слайд 3</vt:lpstr>
      <vt:lpstr>Слайд 4</vt:lpstr>
      <vt:lpstr>II. Совершенствование Правил оказания КДП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Bayurzhan A. Jussipov</dc:creator>
  <cp:lastModifiedBy>User</cp:lastModifiedBy>
  <cp:revision>213</cp:revision>
  <cp:lastPrinted>2019-07-30T04:36:01Z</cp:lastPrinted>
  <dcterms:created xsi:type="dcterms:W3CDTF">2019-07-25T05:48:26Z</dcterms:created>
  <dcterms:modified xsi:type="dcterms:W3CDTF">2020-01-08T03:21:38Z</dcterms:modified>
</cp:coreProperties>
</file>